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.xml" ContentType="application/vnd.openxmlformats-officedocument.presentationml.notesSlide+xml"/>
  <Override PartName="/ppt/tags/tag99.xml" ContentType="application/vnd.openxmlformats-officedocument.presentationml.tags+xml"/>
  <Override PartName="/ppt/notesSlides/notesSlide2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3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67" r:id="rId3"/>
    <p:sldMasterId id="2147483671" r:id="rId4"/>
  </p:sldMasterIdLst>
  <p:notesMasterIdLst>
    <p:notesMasterId r:id="rId25"/>
  </p:notesMasterIdLst>
  <p:handoutMasterIdLst>
    <p:handoutMasterId r:id="rId26"/>
  </p:handoutMasterIdLst>
  <p:sldIdLst>
    <p:sldId id="258" r:id="rId5"/>
    <p:sldId id="346" r:id="rId6"/>
    <p:sldId id="341" r:id="rId7"/>
    <p:sldId id="423" r:id="rId8"/>
    <p:sldId id="380" r:id="rId9"/>
    <p:sldId id="420" r:id="rId10"/>
    <p:sldId id="405" r:id="rId11"/>
    <p:sldId id="417" r:id="rId12"/>
    <p:sldId id="424" r:id="rId13"/>
    <p:sldId id="425" r:id="rId14"/>
    <p:sldId id="392" r:id="rId15"/>
    <p:sldId id="398" r:id="rId16"/>
    <p:sldId id="399" r:id="rId17"/>
    <p:sldId id="400" r:id="rId18"/>
    <p:sldId id="418" r:id="rId19"/>
    <p:sldId id="419" r:id="rId20"/>
    <p:sldId id="395" r:id="rId21"/>
    <p:sldId id="402" r:id="rId22"/>
    <p:sldId id="401" r:id="rId23"/>
    <p:sldId id="426" r:id="rId24"/>
  </p:sldIdLst>
  <p:sldSz cx="9144000" cy="6858000" type="screen4x3"/>
  <p:notesSz cx="9928225" cy="6797675"/>
  <p:custDataLst>
    <p:tags r:id="rId27"/>
  </p:custDataLst>
  <p:defaultTextStyle>
    <a:defPPr>
      <a:defRPr lang="ru-RU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8BBC"/>
    <a:srgbClr val="91F616"/>
    <a:srgbClr val="36DE2E"/>
    <a:srgbClr val="7FE109"/>
    <a:srgbClr val="B5F8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03" autoAdjust="0"/>
    <p:restoredTop sz="94140" autoAdjust="0"/>
  </p:normalViewPr>
  <p:slideViewPr>
    <p:cSldViewPr>
      <p:cViewPr>
        <p:scale>
          <a:sx n="125" d="100"/>
          <a:sy n="125" d="100"/>
        </p:scale>
        <p:origin x="-1224" y="228"/>
      </p:cViewPr>
      <p:guideLst>
        <p:guide orient="horz" pos="2160"/>
        <p:guide pos="3120"/>
        <p:guide pos="2880"/>
      </p:guideLst>
    </p:cSldViewPr>
  </p:slideViewPr>
  <p:outlineViewPr>
    <p:cViewPr>
      <p:scale>
        <a:sx n="33" d="100"/>
        <a:sy n="33" d="100"/>
      </p:scale>
      <p:origin x="258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B1DC6F-3B78-4F56-8E22-23150374C7FF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3698" y="6456612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5B16B-40E4-4345-8F32-B9D78891A7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4213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697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7AEA84-5003-4DCF-A091-F2FEA68EFE36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4004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28896"/>
            <a:ext cx="794258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697" y="6456612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9C41A-B1C8-41EA-A2AC-83BD505B4A8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86793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1825" cy="33305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45548" y="5301565"/>
            <a:ext cx="5740905" cy="246221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939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1700" y="739775"/>
            <a:ext cx="4933950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45548" y="5301565"/>
            <a:ext cx="5740905" cy="246221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1957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7287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2581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945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112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41981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7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/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508602"/>
            <a:ext cx="324928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/>
              <a:t>Last Modified 9/21/2018 1:05 PM Bangladesh Standard Time</a:t>
            </a:r>
            <a:endParaRPr lang="ru-RU" sz="918" dirty="0"/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668957"/>
            <a:ext cx="272510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/>
              <a:t>Printed 21.07.2015 7:05 Russia TZ 2 Standard Time</a:t>
            </a:r>
            <a:endParaRPr lang="ru-RU" sz="918" dirty="0"/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4375216"/>
            <a:ext cx="50360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>
                <a:solidFill>
                  <a:schemeClr val="accent4"/>
                </a:solidFill>
              </a:rPr>
              <a:t>Тип документа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4652872"/>
            <a:ext cx="50360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>
                <a:solidFill>
                  <a:schemeClr val="accent4"/>
                </a:solidFill>
              </a:rPr>
              <a:t>Дата</a:t>
            </a:r>
          </a:p>
        </p:txBody>
      </p:sp>
      <p:sp>
        <p:nvSpPr>
          <p:cNvPr id="13314" name="Rectangle 1026" hidden="1"/>
          <p:cNvSpPr>
            <a:spLocks noGrp="1" noChangeArrowheads="1"/>
          </p:cNvSpPr>
          <p:nvPr userDrawn="1">
            <p:ph type="ctrTitle"/>
            <p:custDataLst>
              <p:tags r:id="rId6"/>
            </p:custDataLst>
          </p:nvPr>
        </p:nvSpPr>
        <p:spPr>
          <a:xfrm>
            <a:off x="2693797" y="2429618"/>
            <a:ext cx="5036083" cy="1004890"/>
          </a:xfrm>
          <a:prstGeom prst="rect">
            <a:avLst/>
          </a:prstGeom>
        </p:spPr>
        <p:txBody>
          <a:bodyPr anchor="ctr"/>
          <a:lstStyle>
            <a:lvl1pPr>
              <a:defRPr sz="3265" b="1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77189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46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9D635AD-C4CC-4DE0-AF23-A083CB223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9D635AD-C4CC-4DE0-AF23-A083CB223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88923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0BB68A-25E1-4C53-A50C-569D3BD1CB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0BB68A-25E1-4C53-A50C-569D3BD1C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73835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7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/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508602"/>
            <a:ext cx="324928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/>
              <a:t>Last Modified 9/21/2018 1:05 PM Bangladesh Standard Time</a:t>
            </a:r>
            <a:endParaRPr lang="ru-RU" sz="918" dirty="0"/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668957"/>
            <a:ext cx="272510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/>
              <a:t>Printed 21.07.2015 7:05 Russia TZ 2 Standard Time</a:t>
            </a:r>
            <a:endParaRPr lang="ru-RU" sz="918" dirty="0"/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4375216"/>
            <a:ext cx="50360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>
                <a:solidFill>
                  <a:schemeClr val="accent4"/>
                </a:solidFill>
              </a:rPr>
              <a:t>Тип документа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4652872"/>
            <a:ext cx="50360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>
                <a:solidFill>
                  <a:schemeClr val="accent4"/>
                </a:solidFill>
              </a:rPr>
              <a:t>Дата</a:t>
            </a:r>
          </a:p>
        </p:txBody>
      </p:sp>
      <p:sp>
        <p:nvSpPr>
          <p:cNvPr id="13314" name="Rectangle 1026" hidden="1"/>
          <p:cNvSpPr>
            <a:spLocks noGrp="1" noChangeArrowheads="1"/>
          </p:cNvSpPr>
          <p:nvPr userDrawn="1">
            <p:ph type="ctrTitle"/>
            <p:custDataLst>
              <p:tags r:id="rId6"/>
            </p:custDataLst>
          </p:nvPr>
        </p:nvSpPr>
        <p:spPr>
          <a:xfrm>
            <a:off x="2693797" y="2429618"/>
            <a:ext cx="5036083" cy="1004890"/>
          </a:xfrm>
          <a:prstGeom prst="rect">
            <a:avLst/>
          </a:prstGeom>
        </p:spPr>
        <p:txBody>
          <a:bodyPr anchor="ctr"/>
          <a:lstStyle>
            <a:lvl1pPr>
              <a:defRPr sz="3265" b="1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62736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075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3868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7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/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508602"/>
            <a:ext cx="3273332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/>
              <a:t>Last Modified 9/21/2018 1:05 PM Bangladesh Standard Time</a:t>
            </a:r>
            <a:endParaRPr lang="ru-RU" sz="918" dirty="0"/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668957"/>
            <a:ext cx="272510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/>
              <a:t>Printed 21.07.2015 7:05 Russia TZ 2 Standard Time</a:t>
            </a:r>
            <a:endParaRPr lang="ru-RU" sz="918" dirty="0"/>
          </a:p>
        </p:txBody>
      </p:sp>
      <p:grpSp>
        <p:nvGrpSpPr>
          <p:cNvPr id="2" name="Title Elements" hidden="1"/>
          <p:cNvGrpSpPr/>
          <p:nvPr userDrawn="1">
            <p:custDataLst>
              <p:tags r:id="rId6"/>
            </p:custDataLst>
          </p:nvPr>
        </p:nvGrpSpPr>
        <p:grpSpPr>
          <a:xfrm>
            <a:off x="2693795" y="4375216"/>
            <a:ext cx="5036084" cy="501859"/>
            <a:chOff x="2640013" y="4926935"/>
            <a:chExt cx="4935538" cy="491868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2640013" y="492693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accent4"/>
                  </a:solidFill>
                </a:rPr>
                <a:t>Тип документа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accent4"/>
                  </a:solidFill>
                </a:rPr>
                <a:t>Дата</a:t>
              </a:r>
            </a:p>
          </p:txBody>
        </p:sp>
      </p:grpSp>
      <p:sp>
        <p:nvSpPr>
          <p:cNvPr id="13314" name="Rectangle 1026" hidden="1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2693797" y="2429618"/>
            <a:ext cx="5036083" cy="1004890"/>
          </a:xfrm>
          <a:prstGeom prst="rect">
            <a:avLst/>
          </a:prstGeom>
        </p:spPr>
        <p:txBody>
          <a:bodyPr anchor="ctr"/>
          <a:lstStyle>
            <a:lvl1pPr>
              <a:defRPr sz="3265" b="1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703820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11446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3698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6516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2883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2" y="6356352"/>
            <a:ext cx="30861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9DD20033-E53A-4B39-8B04-7C800F3DD81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403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2" y="6356352"/>
            <a:ext cx="30861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9DD20033-E53A-4B39-8B04-7C800F3DD81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4645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0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7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6" y="508602"/>
            <a:ext cx="324928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</a:rPr>
              <a:t>Last Modified 9/21/2018 1:05 PM Bangladesh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668957"/>
            <a:ext cx="272510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>
                <a:solidFill>
                  <a:srgbClr val="000000"/>
                </a:solidFill>
              </a:rPr>
              <a:t>Printed 21.07.2015 7:05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grpSp>
        <p:nvGrpSpPr>
          <p:cNvPr id="2" name="Title Elements" hidden="1"/>
          <p:cNvGrpSpPr/>
          <p:nvPr userDrawn="1">
            <p:custDataLst>
              <p:tags r:id="rId6"/>
            </p:custDataLst>
          </p:nvPr>
        </p:nvGrpSpPr>
        <p:grpSpPr>
          <a:xfrm>
            <a:off x="2693795" y="4375216"/>
            <a:ext cx="5036084" cy="501859"/>
            <a:chOff x="2640013" y="4926935"/>
            <a:chExt cx="4935538" cy="491868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2640013" y="492693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rgbClr val="0B2755"/>
                  </a:solidFill>
                </a:rPr>
                <a:t>Тип документа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rgbClr val="0B2755"/>
                  </a:solidFill>
                </a:rPr>
                <a:t>Дата</a:t>
              </a:r>
            </a:p>
          </p:txBody>
        </p:sp>
      </p:grpSp>
      <p:sp>
        <p:nvSpPr>
          <p:cNvPr id="13314" name="Rectangle 1026" hidden="1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2693797" y="2429618"/>
            <a:ext cx="5036083" cy="1004890"/>
          </a:xfrm>
          <a:prstGeom prst="rect">
            <a:avLst/>
          </a:prstGeom>
        </p:spPr>
        <p:txBody>
          <a:bodyPr anchor="ctr"/>
          <a:lstStyle>
            <a:lvl1pPr>
              <a:defRPr sz="3265" b="1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332699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02126"/>
            <a:ext cx="7772400" cy="2983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1"/>
            <a:ext cx="6400800" cy="25122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1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1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3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FE734-7988-4BCB-AE61-788F18B292DF}" type="datetimeFigureOut">
              <a:rPr lang="ru-RU">
                <a:solidFill>
                  <a:srgbClr val="000000"/>
                </a:solidFill>
              </a:rPr>
              <a:pPr>
                <a:defRPr/>
              </a:pPr>
              <a:t>21.09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4000CB-F618-40A0-9128-85D16CE24F15}" type="slidenum">
              <a:rPr lang="ru-RU" altLang="ru-RU">
                <a:solidFill>
                  <a:srgbClr val="000000"/>
                </a:solidFill>
              </a:rPr>
              <a:pPr/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217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3643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728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09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457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821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185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755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2914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075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273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4"/>
            <a:ext cx="4041775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442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330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773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7817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923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vmlDrawing" Target="../drawings/vmlDrawing2.vml"/><Relationship Id="rId15" Type="http://schemas.openxmlformats.org/officeDocument/2006/relationships/oleObject" Target="../embeddings/oleObject2.bin"/><Relationship Id="rId10" Type="http://schemas.openxmlformats.org/officeDocument/2006/relationships/tags" Target="../tags/tag11.xml"/><Relationship Id="rId4" Type="http://schemas.openxmlformats.org/officeDocument/2006/relationships/theme" Target="../theme/theme2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32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6.vml"/><Relationship Id="rId11" Type="http://schemas.openxmlformats.org/officeDocument/2006/relationships/tags" Target="../tags/tag27.xml"/><Relationship Id="rId5" Type="http://schemas.openxmlformats.org/officeDocument/2006/relationships/theme" Target="../theme/theme3.xml"/><Relationship Id="rId15" Type="http://schemas.openxmlformats.org/officeDocument/2006/relationships/tags" Target="../tags/tag31.xml"/><Relationship Id="rId10" Type="http://schemas.openxmlformats.org/officeDocument/2006/relationships/tags" Target="../tags/tag26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23.xml"/><Relationship Id="rId21" Type="http://schemas.openxmlformats.org/officeDocument/2006/relationships/oleObject" Target="../embeddings/oleObject8.bin"/><Relationship Id="rId7" Type="http://schemas.openxmlformats.org/officeDocument/2006/relationships/theme" Target="../theme/theme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42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46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107287" tIns="53643" rIns="107287" bIns="53643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56D2CE-C00E-4AD7-85A9-AFBE8B6F4BC4}" type="datetimeFigureOut">
              <a:rPr lang="ru-RU" smtClean="0"/>
              <a:t>21.09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8A3579-71FA-4A5E-BF42-E9D0E6676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464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82" r:id="rId13"/>
  </p:sldLayoutIdLst>
  <p:txStyles>
    <p:titleStyle>
      <a:lvl1pPr algn="ctr" defTabSz="1072866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Font typeface="Arial" pitchFamily="34" charset="0"/>
        <a:buChar char="–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989102" y="1980017"/>
            <a:ext cx="216726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/>
              <a:t>Last Modified 9/21/2018 1:05 PM Bangladesh Standard Time</a:t>
            </a:r>
            <a:endParaRPr lang="ru-RU" sz="1632" dirty="0"/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163826" y="4197997"/>
            <a:ext cx="181780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dirty="0"/>
              <a:t>Printed 21.07.2015 7:05 Russia TZ 2 Standard Time</a:t>
            </a:r>
            <a:endParaRPr lang="ru-RU" sz="1632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488" y="174131"/>
            <a:ext cx="873470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9" y="-1619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8" y="101469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89" y="6198964"/>
            <a:ext cx="8722841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baseline="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489" y="6564117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baseline="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976707"/>
            <a:ext cx="4350892" cy="691632"/>
            <a:chOff x="915" y="603"/>
            <a:chExt cx="2686" cy="42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3"/>
              <a:ext cx="2686" cy="4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143" b="1" dirty="0"/>
                <a:t>Title</a:t>
              </a:r>
            </a:p>
            <a:p>
              <a:r>
                <a:rPr lang="ru-RU" sz="21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2377117" y="1990667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ru-RU" noProof="0" dirty="0"/>
          </a:p>
        </p:txBody>
      </p:sp>
      <p:sp>
        <p:nvSpPr>
          <p:cNvPr id="22" name="Slide Number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719603" y="6575243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tx2"/>
                </a:solidFill>
              </a:rPr>
              <a:pPr lvl="0"/>
              <a:t>‹#›</a:t>
            </a:fld>
            <a:endParaRPr lang="en-US" sz="102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64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ctr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981086" y="1980017"/>
            <a:ext cx="218329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/>
              <a:t>Last Modified 9/21/2018 1:05 PM Bangladesh Standard Time</a:t>
            </a:r>
            <a:endParaRPr lang="ru-RU" sz="1632" dirty="0"/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163826" y="4197997"/>
            <a:ext cx="181780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dirty="0"/>
              <a:t>Printed 21.07.2015 7:05 Russia TZ 2 Standard Time</a:t>
            </a:r>
            <a:endParaRPr lang="ru-RU" sz="1632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21488" y="573977"/>
            <a:ext cx="873470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9" y="-1619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8" y="101469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21489" y="6198769"/>
            <a:ext cx="8722841" cy="526418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20" baseline="0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20" baseline="0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976707"/>
            <a:ext cx="4350892" cy="691632"/>
            <a:chOff x="915" y="603"/>
            <a:chExt cx="2686" cy="42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3"/>
              <a:ext cx="2686" cy="4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143" b="1" dirty="0"/>
                <a:t>Title</a:t>
              </a:r>
            </a:p>
            <a:p>
              <a:r>
                <a:rPr lang="ru-RU" sz="21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1482156" y="1990667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22" name="Slide Number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8719603" y="6575243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tx1"/>
                </a:solidFill>
              </a:rPr>
              <a:pPr lvl="0"/>
              <a:t>‹#›</a:t>
            </a:fld>
            <a:endParaRPr lang="en-US" sz="102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77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8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rgbClr val="0B2755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89101" y="1980017"/>
            <a:ext cx="216726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</a:rPr>
              <a:t>Last Modified 9/21/2018 1:05 PM Bangladesh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163826" y="4197997"/>
            <a:ext cx="181780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dirty="0">
                <a:solidFill>
                  <a:srgbClr val="000000"/>
                </a:solidFill>
              </a:rPr>
              <a:t>Printed 21.07.2015 7:05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21488" y="573977"/>
            <a:ext cx="873470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9" y="-1619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488" y="101469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21489" y="6198769"/>
            <a:ext cx="8722841" cy="526418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2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2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82155" y="976707"/>
            <a:ext cx="4350892" cy="691632"/>
            <a:chOff x="915" y="603"/>
            <a:chExt cx="2686" cy="42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3"/>
              <a:ext cx="2686" cy="4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143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21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1482156" y="1990667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22" name="Slide Number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8719603" y="6575243"/>
            <a:ext cx="21300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23" name="SlideLogoSeparator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590626" y="655985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24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17584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rgbClr val="0B2755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34" Type="http://schemas.openxmlformats.org/officeDocument/2006/relationships/image" Target="../media/image35.png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33" Type="http://schemas.openxmlformats.org/officeDocument/2006/relationships/image" Target="../media/image34.png"/><Relationship Id="rId38" Type="http://schemas.openxmlformats.org/officeDocument/2006/relationships/image" Target="../media/image39.jpeg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slideLayout" Target="../slideLayouts/slideLayout14.xml"/><Relationship Id="rId36" Type="http://schemas.openxmlformats.org/officeDocument/2006/relationships/image" Target="../media/image37.png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image" Target="../media/image32.pn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image" Target="../media/image31.emf"/><Relationship Id="rId35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0.png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notesSlide" Target="../notesSlides/notesSlid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18" Type="http://schemas.openxmlformats.org/officeDocument/2006/relationships/image" Target="../media/image63.jpeg"/><Relationship Id="rId26" Type="http://schemas.openxmlformats.org/officeDocument/2006/relationships/image" Target="../media/image71.png"/><Relationship Id="rId3" Type="http://schemas.openxmlformats.org/officeDocument/2006/relationships/image" Target="../media/image48.png"/><Relationship Id="rId21" Type="http://schemas.openxmlformats.org/officeDocument/2006/relationships/image" Target="../media/image66.jpe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jpeg"/><Relationship Id="rId25" Type="http://schemas.openxmlformats.org/officeDocument/2006/relationships/image" Target="../media/image70.pn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10" Type="http://schemas.openxmlformats.org/officeDocument/2006/relationships/image" Target="../media/image55.emf"/><Relationship Id="rId19" Type="http://schemas.openxmlformats.org/officeDocument/2006/relationships/image" Target="../media/image64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jpeg"/><Relationship Id="rId22" Type="http://schemas.openxmlformats.org/officeDocument/2006/relationships/image" Target="../media/image67.jpeg"/><Relationship Id="rId27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oleObject" Target="../embeddings/oleObject13.bin"/><Relationship Id="rId26" Type="http://schemas.openxmlformats.org/officeDocument/2006/relationships/image" Target="../media/image80.png"/><Relationship Id="rId3" Type="http://schemas.openxmlformats.org/officeDocument/2006/relationships/tags" Target="../tags/tag103.xml"/><Relationship Id="rId21" Type="http://schemas.openxmlformats.org/officeDocument/2006/relationships/image" Target="../media/image75.png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slideLayout" Target="../slideLayouts/slideLayout18.xml"/><Relationship Id="rId25" Type="http://schemas.openxmlformats.org/officeDocument/2006/relationships/image" Target="../media/image79.png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image" Target="../media/image74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24" Type="http://schemas.openxmlformats.org/officeDocument/2006/relationships/image" Target="../media/image78.png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image" Target="../media/image77.png"/><Relationship Id="rId10" Type="http://schemas.openxmlformats.org/officeDocument/2006/relationships/tags" Target="../tags/tag110.xml"/><Relationship Id="rId19" Type="http://schemas.openxmlformats.org/officeDocument/2006/relationships/image" Target="../media/image73.emf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image" Target="../media/image7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" Type="http://schemas.openxmlformats.org/officeDocument/2006/relationships/tags" Target="../tags/tag124.xml"/><Relationship Id="rId21" Type="http://schemas.openxmlformats.org/officeDocument/2006/relationships/tags" Target="../tags/tag142.xml"/><Relationship Id="rId34" Type="http://schemas.openxmlformats.org/officeDocument/2006/relationships/oleObject" Target="../embeddings/oleObject14.bin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slideLayout" Target="../slideLayouts/slideLayout21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image" Target="../media/image8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и по запросу туристические достопримечательности казахстана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" y="4681850"/>
            <a:ext cx="1604273" cy="1051407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camper-shoes.ru/sites/default/files/Charyn%20canyon.jpg?13631205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567" y="4681850"/>
            <a:ext cx="1651961" cy="1051405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Картинки по запросу туристические достопримечательности казахстан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600" y="4681851"/>
            <a:ext cx="1454452" cy="1051405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Картинки по запросу боровое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598" y="4683035"/>
            <a:ext cx="1452336" cy="1050221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Картинки по запросу астан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57" y="4681850"/>
            <a:ext cx="1448118" cy="1051405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Картинки по запросу чимбула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3" y="4681851"/>
            <a:ext cx="1454096" cy="1051405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84459" y="2708920"/>
            <a:ext cx="8441553" cy="165275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465" tIns="40232" rIns="80465" bIns="40232" numCol="1" spcCol="0" rtlCol="0" fromWordArt="0" anchor="ctr" anchorCtr="0" forceAA="0" compatLnSpc="1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 u="sng" ker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rgbClr val="002060"/>
                </a:solidFill>
                <a:latin typeface="Arial" panose="020B0604020202020204" pitchFamily="34" charset="0"/>
                <a:ea typeface="Rix고딕 L" panose="02020603020101020101" pitchFamily="18" charset="-127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kk-KZ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ҚАЗАҚСТАН РЕСПУБЛИКАСЫ ПАРЛАМЕНТІ</a:t>
            </a:r>
          </a:p>
          <a:p>
            <a:pPr algn="ctr"/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«</a:t>
            </a:r>
            <a:r>
              <a:rPr lang="kk-KZ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ҚАЗАҚСТАН РЕСПУБЛИКАСЫНЫҢ ТУРИСТІК САЛАСЫН  ДАМЫТУ ТУРАЛЫ» ТАҚЫРЫБЫ БОЙЫНША ӨТЕТІН ҮКІМЕТ САҒАТЫ</a:t>
            </a:r>
            <a:endParaRPr lang="ru-RU" sz="2400" b="1" u="none" kern="1200" dirty="0">
              <a:solidFill>
                <a:schemeClr val="tx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5607" y="6401652"/>
            <a:ext cx="7332784" cy="3397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465" tIns="40232" rIns="80465" bIns="40232" numCol="1" spcCol="0" rtlCol="0" fromWordArt="0" anchor="ctr" anchorCtr="0" forceAA="0" compatLnSpc="1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 u="sng" ker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rgbClr val="002060"/>
                </a:solidFill>
                <a:latin typeface="Arial" panose="020B0604020202020204" pitchFamily="34" charset="0"/>
                <a:ea typeface="Rix고딕 L" panose="02020603020101020101" pitchFamily="18" charset="-127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1600" b="1" u="none" dirty="0" smtClean="0"/>
              <a:t>2018 </a:t>
            </a:r>
            <a:r>
              <a:rPr lang="ru-RU" sz="1600" b="1" u="none" dirty="0" err="1" smtClean="0"/>
              <a:t>жылғы</a:t>
            </a:r>
            <a:r>
              <a:rPr lang="ru-RU" sz="1600" b="1" u="none" dirty="0" smtClean="0"/>
              <a:t> 24 </a:t>
            </a:r>
            <a:r>
              <a:rPr lang="ru-RU" sz="1600" b="1" u="none" dirty="0" err="1" smtClean="0"/>
              <a:t>қыркүйек</a:t>
            </a:r>
            <a:r>
              <a:rPr lang="ru-RU" sz="1600" b="1" u="none" dirty="0" smtClean="0"/>
              <a:t> </a:t>
            </a:r>
            <a:endParaRPr lang="en-US" sz="1600" b="1" u="none" dirty="0"/>
          </a:p>
        </p:txBody>
      </p:sp>
      <p:sp>
        <p:nvSpPr>
          <p:cNvPr id="12" name="Rectangle 11"/>
          <p:cNvSpPr/>
          <p:nvPr/>
        </p:nvSpPr>
        <p:spPr>
          <a:xfrm>
            <a:off x="-9434" y="-27384"/>
            <a:ext cx="9153434" cy="10081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r>
              <a:rPr lang="kk-KZ" sz="2400" b="1" dirty="0" smtClean="0">
                <a:latin typeface="Arial" pitchFamily="34" charset="0"/>
                <a:cs typeface="Arial" pitchFamily="34" charset="0"/>
              </a:rPr>
              <a:t>ҚАЗАҚСТАН РЕСПУБЛИКАСЫ  </a:t>
            </a:r>
          </a:p>
          <a:p>
            <a:pPr algn="ctr"/>
            <a:r>
              <a:rPr lang="kk-KZ" sz="2400" b="1" dirty="0" smtClean="0">
                <a:latin typeface="Arial" pitchFamily="34" charset="0"/>
                <a:cs typeface="Arial" pitchFamily="34" charset="0"/>
              </a:rPr>
              <a:t>МӘДЕНИЕТ ЖӘНЕ СПОРТ МИНИСТРЛІГІ</a:t>
            </a:r>
            <a:endParaRPr lang="ru-RU" sz="1050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1268760"/>
            <a:ext cx="1440160" cy="1441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708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B2D3B8B-6AE0-4C9E-B168-8493C3872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439" y="265266"/>
          <a:ext cx="1494" cy="1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3439" y="265266"/>
                        <a:ext cx="1494" cy="1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64078" y="116632"/>
            <a:ext cx="8062332" cy="827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  <a:t>Первый приоритет: </a:t>
            </a:r>
            <a:b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«Развитие туристской инфраструктуры»</a:t>
            </a:r>
            <a:endParaRPr lang="ru-RU" sz="2400" kern="12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1238563"/>
            <a:ext cx="8496944" cy="435067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64078" y="900009"/>
            <a:ext cx="81403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ТОП-10 ОБЪЕКТОВ</a:t>
            </a:r>
            <a:endParaRPr lang="ru-RU" sz="20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4078" y="5517232"/>
            <a:ext cx="814037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6703" algn="ctr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0000"/>
                </a:solidFill>
                <a:latin typeface="Arial" charset="0"/>
              </a:rPr>
              <a:t>ЭКОНОМИЧЕСКИЙ ЭФФЕКТ</a:t>
            </a:r>
          </a:p>
          <a:p>
            <a:pPr marL="246703" algn="ctr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Увеличение с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3,2 до 13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млн.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туристов в год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(в 4,2 раза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)</a:t>
            </a:r>
          </a:p>
          <a:p>
            <a:pPr marL="246703" algn="ctr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Объем инвестиций: </a:t>
            </a:r>
            <a:r>
              <a:rPr lang="ru-RU" sz="1600" b="1" dirty="0" smtClean="0">
                <a:solidFill>
                  <a:srgbClr val="FF0000"/>
                </a:solidFill>
                <a:latin typeface="Arial" charset="0"/>
              </a:rPr>
              <a:t>5,8 млрд. долл.</a:t>
            </a:r>
          </a:p>
          <a:p>
            <a:pPr marL="246703" algn="ctr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Количество рабочих мест: </a:t>
            </a:r>
            <a:r>
              <a:rPr lang="ru-RU" sz="1600" b="1" dirty="0" smtClean="0">
                <a:solidFill>
                  <a:srgbClr val="FF0000"/>
                </a:solidFill>
                <a:latin typeface="Arial" charset="0"/>
              </a:rPr>
              <a:t>64 тыс.</a:t>
            </a:r>
          </a:p>
          <a:p>
            <a:pPr marL="246703" algn="ctr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Совокупный эффект на </a:t>
            </a:r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ВДС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: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6,5 </a:t>
            </a:r>
            <a:r>
              <a:rPr lang="ru-RU" sz="1600" b="1" dirty="0" err="1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млрд.долл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. в год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76456" y="6453336"/>
            <a:ext cx="454204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9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42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1942" y="1"/>
          <a:ext cx="14951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4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351942" y="1"/>
                        <a:ext cx="14951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83446" y="122172"/>
            <a:ext cx="8042963" cy="570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 lvl="0"/>
            <a: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  <a:t>Второй приоритет:</a:t>
            </a:r>
            <a:b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«Либерализация </a:t>
            </a:r>
            <a:r>
              <a:rPr lang="ru-RU" sz="2400" kern="1200" dirty="0">
                <a:solidFill>
                  <a:schemeClr val="tx2">
                    <a:lumMod val="75000"/>
                  </a:schemeClr>
                </a:solidFill>
              </a:rPr>
              <a:t>визового </a:t>
            </a: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режима»</a:t>
            </a:r>
            <a:endParaRPr lang="en-US" sz="2400" kern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9" name="AutoShape 2" descr="blob:https://web.whatsapp.com/e8c87ef0-b6b1-4097-90f4-5b71af23fbc3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498466" y="-147396"/>
            <a:ext cx="287069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AutoShape 4" descr="blob:https://web.whatsapp.com/e8c87ef0-b6b1-4097-90f4-5b71af23fbc3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642000" y="8099"/>
            <a:ext cx="287069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7" name="Rectangle 46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498466" y="1234357"/>
            <a:ext cx="8284387" cy="208062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122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73271" y="2211932"/>
            <a:ext cx="714221" cy="2308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000000"/>
                </a:solidFill>
                <a:latin typeface="Arial" charset="0"/>
              </a:rPr>
              <a:t>Индия</a:t>
            </a:r>
            <a:endParaRPr lang="ru-RU" sz="1500" b="1" dirty="0">
              <a:solidFill>
                <a:srgbClr val="FFFFFF">
                  <a:lumMod val="50000"/>
                </a:srgbClr>
              </a:solidFill>
              <a:latin typeface="Arial" charset="0"/>
            </a:endParaRPr>
          </a:p>
        </p:txBody>
      </p:sp>
      <p:sp>
        <p:nvSpPr>
          <p:cNvPr id="14" name="AutoShape 25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73271" y="1884180"/>
            <a:ext cx="714221" cy="2308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b="1" dirty="0">
                <a:solidFill>
                  <a:srgbClr val="000000"/>
                </a:solidFill>
                <a:latin typeface="Arial" charset="0"/>
              </a:rPr>
              <a:t>Китай</a:t>
            </a:r>
          </a:p>
        </p:txBody>
      </p:sp>
      <p:pic>
        <p:nvPicPr>
          <p:cNvPr id="18" name="Picture 3" descr="C:\Users\kban\YandexDisk\Tourism\Media\Флаги стран\China.png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51" y="1873926"/>
            <a:ext cx="278027" cy="31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C:\Users\kban\YandexDisk\Tourism\Media\Флаги стран\India.png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51" y="2201675"/>
            <a:ext cx="278027" cy="31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/>
          <p:cNvSpPr/>
          <p:nvPr>
            <p:custDataLst>
              <p:tags r:id="rId11"/>
            </p:custDataLst>
          </p:nvPr>
        </p:nvSpPr>
        <p:spPr>
          <a:xfrm>
            <a:off x="8230572" y="1741458"/>
            <a:ext cx="949939" cy="55399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Безвизовый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транзит</a:t>
            </a:r>
            <a:endParaRPr lang="ru-RU" sz="1200" b="1" dirty="0">
              <a:solidFill>
                <a:srgbClr val="000000"/>
              </a:solidFill>
              <a:latin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5 дней</a:t>
            </a:r>
            <a:endParaRPr lang="en-US" sz="1200" b="1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009B3EC5-E76D-4C35-AF51-13C615A811D5}"/>
              </a:ext>
            </a:extLst>
          </p:cNvPr>
          <p:cNvGrpSpPr/>
          <p:nvPr/>
        </p:nvGrpSpPr>
        <p:grpSpPr>
          <a:xfrm>
            <a:off x="483447" y="4388994"/>
            <a:ext cx="8062331" cy="2107898"/>
            <a:chOff x="119062" y="4309848"/>
            <a:chExt cx="8560318" cy="1976653"/>
          </a:xfrm>
        </p:grpSpPr>
        <p:sp>
          <p:nvSpPr>
            <p:cNvPr id="57" name="Rectangle 56"/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119062" y="4348476"/>
              <a:ext cx="8560318" cy="1938025"/>
            </a:xfrm>
            <a:prstGeom prst="rect">
              <a:avLst/>
            </a:prstGeom>
            <a:solidFill>
              <a:schemeClr val="bg1">
                <a:lumMod val="95000"/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122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AutoShape 25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11068" y="4820320"/>
              <a:ext cx="914400" cy="277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  <a:latin typeface="Arial" charset="0"/>
                </a:rPr>
                <a:t>Мир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5B238299-D71D-4FFC-9FFE-ABCE51DE589C}"/>
                </a:ext>
              </a:extLst>
            </p:cNvPr>
            <p:cNvSpPr txBox="1">
              <a:spLocks/>
            </p:cNvSpPr>
            <p:nvPr/>
          </p:nvSpPr>
          <p:spPr>
            <a:xfrm>
              <a:off x="1438902" y="4309848"/>
              <a:ext cx="7149861" cy="17781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algn="just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 smtClean="0">
                  <a:solidFill>
                    <a:srgbClr val="000000"/>
                  </a:solidFill>
                  <a:latin typeface="Arial"/>
                </a:rPr>
                <a:t>Отмена виз для обладателей </a:t>
              </a:r>
              <a:r>
                <a:rPr lang="ru-RU" sz="1400" b="1" dirty="0" smtClean="0">
                  <a:solidFill>
                    <a:srgbClr val="000000"/>
                  </a:solidFill>
                  <a:latin typeface="Arial"/>
                </a:rPr>
                <a:t>Шенген</a:t>
              </a:r>
              <a:r>
                <a:rPr lang="ru-RU" sz="1400" b="1" dirty="0">
                  <a:solidFill>
                    <a:srgbClr val="000000"/>
                  </a:solidFill>
                  <a:latin typeface="Arial"/>
                </a:rPr>
                <a:t>, визы США, Канады, Японии </a:t>
              </a:r>
              <a:endParaRPr lang="ru-RU" sz="1400" b="1" dirty="0" smtClean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algn="just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 smtClean="0">
                  <a:solidFill>
                    <a:srgbClr val="000000"/>
                  </a:solidFill>
                  <a:latin typeface="Arial"/>
                </a:rPr>
                <a:t>Многократная виза </a:t>
              </a:r>
              <a:r>
                <a:rPr lang="ru-RU" sz="1400" dirty="0">
                  <a:solidFill>
                    <a:srgbClr val="000000"/>
                  </a:solidFill>
                  <a:latin typeface="Arial"/>
                </a:rPr>
                <a:t>на </a:t>
              </a:r>
              <a:r>
                <a:rPr lang="ru-RU" sz="1400" b="1" dirty="0" smtClean="0">
                  <a:solidFill>
                    <a:srgbClr val="FF0000"/>
                  </a:solidFill>
                  <a:latin typeface="Arial"/>
                </a:rPr>
                <a:t>1 год </a:t>
              </a:r>
              <a:r>
                <a:rPr lang="ru-RU" sz="1400" b="1" dirty="0">
                  <a:solidFill>
                    <a:srgbClr val="FF0000"/>
                  </a:solidFill>
                  <a:latin typeface="Arial"/>
                </a:rPr>
                <a:t>и на 5 лет</a:t>
              </a:r>
              <a:r>
                <a:rPr lang="ru-RU" sz="1400" dirty="0">
                  <a:solidFill>
                    <a:srgbClr val="000000"/>
                  </a:solidFill>
                  <a:latin typeface="Arial"/>
                </a:rPr>
                <a:t> для благонадежных категорий </a:t>
              </a:r>
              <a:r>
                <a:rPr lang="ru-RU" sz="1400" dirty="0" smtClean="0">
                  <a:solidFill>
                    <a:srgbClr val="000000"/>
                  </a:solidFill>
                </a:rPr>
                <a:t>туристов и срочной </a:t>
              </a:r>
              <a:r>
                <a:rPr lang="ru-RU" sz="1400" dirty="0">
                  <a:solidFill>
                    <a:srgbClr val="000000"/>
                  </a:solidFill>
                </a:rPr>
                <a:t>визы за дополнительную плату</a:t>
              </a:r>
              <a:endParaRPr lang="ru-RU" sz="1400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algn="just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rgbClr val="000000"/>
                  </a:solidFill>
                  <a:latin typeface="Arial"/>
                </a:rPr>
                <a:t>Все послабления в отношении целевых рынков можно предоставлять в пилотном режиме на 1 год – по результатам года принимать решение о продлении или отмене послаблений</a:t>
              </a:r>
            </a:p>
            <a:p>
              <a:pPr marL="197607" lvl="1" indent="-195987" algn="just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FF0000"/>
                  </a:solidFill>
                  <a:latin typeface="Arial"/>
                </a:rPr>
                <a:t>Ввести </a:t>
              </a:r>
              <a:r>
                <a:rPr lang="ru-RU" sz="1400" b="1" dirty="0">
                  <a:solidFill>
                    <a:srgbClr val="FF0000"/>
                  </a:solidFill>
                  <a:latin typeface="Arial"/>
                </a:rPr>
                <a:t>KPI посольствам РК </a:t>
              </a:r>
              <a:r>
                <a:rPr lang="ru-RU" sz="1400" dirty="0">
                  <a:solidFill>
                    <a:srgbClr val="000000"/>
                  </a:solidFill>
                  <a:latin typeface="Arial"/>
                </a:rPr>
                <a:t>на целевых рынках по росту турпотока и </a:t>
              </a:r>
              <a:r>
                <a:rPr lang="ru-RU" sz="1400" dirty="0" smtClean="0">
                  <a:solidFill>
                    <a:srgbClr val="000000"/>
                  </a:solidFill>
                  <a:latin typeface="Arial"/>
                </a:rPr>
                <a:t>количества </a:t>
              </a:r>
              <a:r>
                <a:rPr lang="ru-RU" sz="1400" dirty="0">
                  <a:solidFill>
                    <a:srgbClr val="000000"/>
                  </a:solidFill>
                  <a:latin typeface="Arial"/>
                </a:rPr>
                <a:t>выданных виз</a:t>
              </a: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endParaRPr lang="en-GB" sz="1122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95A631B-91CD-4E5F-9D27-14FEAFE3FA39}"/>
              </a:ext>
            </a:extLst>
          </p:cNvPr>
          <p:cNvSpPr txBox="1">
            <a:spLocks/>
          </p:cNvSpPr>
          <p:nvPr/>
        </p:nvSpPr>
        <p:spPr>
          <a:xfrm>
            <a:off x="1835696" y="1389863"/>
            <a:ext cx="6367507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7607" lvl="1" indent="-195987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птимизация процедуры получения </a:t>
            </a: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изы – аналог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енген зоны</a:t>
            </a:r>
          </a:p>
          <a:p>
            <a:pPr marL="1620" lvl="1" indent="0" defTabSz="913526" fontAlgn="base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97607" lvl="1" indent="-195987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Упрощение порядка выдачи виз </a:t>
            </a: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нсионеров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лица старше 55 лет,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кольников, туристов, состоятельных туристов (годовой доход от 36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ыс. долл.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ША).</a:t>
            </a:r>
          </a:p>
          <a:p>
            <a:pPr marL="1620" lvl="1" indent="0" defTabSz="913526" fontAlgn="base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97607" lvl="1" indent="-195987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недрение электронной визы </a:t>
            </a:r>
            <a:r>
              <a:rPr lang="en-GB" sz="14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-visa</a:t>
            </a: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для иностранных граждан </a:t>
            </a:r>
          </a:p>
        </p:txBody>
      </p:sp>
      <p:sp>
        <p:nvSpPr>
          <p:cNvPr id="43" name="3. Unit of measure">
            <a:extLst>
              <a:ext uri="{FF2B5EF4-FFF2-40B4-BE49-F238E27FC236}">
                <a16:creationId xmlns:a16="http://schemas.microsoft.com/office/drawing/2014/main" xmlns="" id="{3ECB3EC4-1A53-4656-BAE2-F60B6AEE1090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4079" y="980728"/>
            <a:ext cx="1526748" cy="31010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3472" tIns="73472" rIns="73472" bIns="73472" anchor="ctr" anchorCtr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</a:rPr>
              <a:t>Целевой рынок</a:t>
            </a:r>
          </a:p>
        </p:txBody>
      </p:sp>
      <p:sp>
        <p:nvSpPr>
          <p:cNvPr id="44" name="3. Unit of measure">
            <a:extLst>
              <a:ext uri="{FF2B5EF4-FFF2-40B4-BE49-F238E27FC236}">
                <a16:creationId xmlns:a16="http://schemas.microsoft.com/office/drawing/2014/main" xmlns="" id="{1324378F-1C63-4598-B3E4-9E4B9ABD730C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018700" y="980728"/>
            <a:ext cx="6729763" cy="31010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3472" tIns="73472" rIns="73472" bIns="73472" anchor="ctr" anchorCtr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е меры</a:t>
            </a:r>
          </a:p>
        </p:txBody>
      </p:sp>
      <p:sp>
        <p:nvSpPr>
          <p:cNvPr id="9" name="Bracket 9">
            <a:extLst>
              <a:ext uri="{FF2B5EF4-FFF2-40B4-BE49-F238E27FC236}">
                <a16:creationId xmlns:a16="http://schemas.microsoft.com/office/drawing/2014/main" xmlns="" id="{B461A1B3-8A69-4A91-BCC5-32DB3B050D5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7956376" y="1316914"/>
            <a:ext cx="262040" cy="1457895"/>
          </a:xfrm>
          <a:custGeom>
            <a:avLst/>
            <a:gdLst>
              <a:gd name="connsiteX0" fmla="*/ 0 w 8288020"/>
              <a:gd name="connsiteY0" fmla="*/ 0 h 2376928"/>
              <a:gd name="connsiteX1" fmla="*/ 8224520 w 8288020"/>
              <a:gd name="connsiteY1" fmla="*/ 725928 h 2376928"/>
              <a:gd name="connsiteX2" fmla="*/ 8224520 w 8288020"/>
              <a:gd name="connsiteY2" fmla="*/ 1487928 h 2376928"/>
              <a:gd name="connsiteX3" fmla="*/ 8288020 w 8288020"/>
              <a:gd name="connsiteY3" fmla="*/ 1551428 h 2376928"/>
              <a:gd name="connsiteX4" fmla="*/ 8224520 w 8288020"/>
              <a:gd name="connsiteY4" fmla="*/ 1614928 h 2376928"/>
              <a:gd name="connsiteX5" fmla="*/ 8224520 w 8288020"/>
              <a:gd name="connsiteY5" fmla="*/ 2376928 h 2376928"/>
              <a:gd name="connsiteX6" fmla="*/ 8097520 w 8288020"/>
              <a:gd name="connsiteY6" fmla="*/ 2376928 h 2376928"/>
              <a:gd name="connsiteX0" fmla="*/ 0 w 8288020"/>
              <a:gd name="connsiteY0" fmla="*/ 0 h 2376928"/>
              <a:gd name="connsiteX1" fmla="*/ 127000 w 8288020"/>
              <a:gd name="connsiteY1" fmla="*/ 1 h 2376928"/>
              <a:gd name="connsiteX2" fmla="*/ 8224520 w 8288020"/>
              <a:gd name="connsiteY2" fmla="*/ 1487928 h 2376928"/>
              <a:gd name="connsiteX3" fmla="*/ 8288020 w 8288020"/>
              <a:gd name="connsiteY3" fmla="*/ 1551428 h 2376928"/>
              <a:gd name="connsiteX4" fmla="*/ 8224520 w 8288020"/>
              <a:gd name="connsiteY4" fmla="*/ 1614928 h 2376928"/>
              <a:gd name="connsiteX5" fmla="*/ 8224520 w 8288020"/>
              <a:gd name="connsiteY5" fmla="*/ 2376928 h 2376928"/>
              <a:gd name="connsiteX6" fmla="*/ 8097520 w 8288020"/>
              <a:gd name="connsiteY6" fmla="*/ 2376928 h 2376928"/>
              <a:gd name="connsiteX0" fmla="*/ 0 w 8288020"/>
              <a:gd name="connsiteY0" fmla="*/ 0 h 2376928"/>
              <a:gd name="connsiteX1" fmla="*/ 127000 w 8288020"/>
              <a:gd name="connsiteY1" fmla="*/ 1 h 2376928"/>
              <a:gd name="connsiteX2" fmla="*/ 127000 w 8288020"/>
              <a:gd name="connsiteY2" fmla="*/ 777860 h 2376928"/>
              <a:gd name="connsiteX3" fmla="*/ 8288020 w 8288020"/>
              <a:gd name="connsiteY3" fmla="*/ 1551428 h 2376928"/>
              <a:gd name="connsiteX4" fmla="*/ 8224520 w 8288020"/>
              <a:gd name="connsiteY4" fmla="*/ 1614928 h 2376928"/>
              <a:gd name="connsiteX5" fmla="*/ 8224520 w 8288020"/>
              <a:gd name="connsiteY5" fmla="*/ 2376928 h 2376928"/>
              <a:gd name="connsiteX6" fmla="*/ 8097520 w 8288020"/>
              <a:gd name="connsiteY6" fmla="*/ 2376928 h 2376928"/>
              <a:gd name="connsiteX0" fmla="*/ 0 w 8224520"/>
              <a:gd name="connsiteY0" fmla="*/ 0 h 2376928"/>
              <a:gd name="connsiteX1" fmla="*/ 127000 w 8224520"/>
              <a:gd name="connsiteY1" fmla="*/ 1 h 2376928"/>
              <a:gd name="connsiteX2" fmla="*/ 127000 w 8224520"/>
              <a:gd name="connsiteY2" fmla="*/ 777860 h 2376928"/>
              <a:gd name="connsiteX3" fmla="*/ 190500 w 8224520"/>
              <a:gd name="connsiteY3" fmla="*/ 825501 h 2376928"/>
              <a:gd name="connsiteX4" fmla="*/ 8224520 w 8224520"/>
              <a:gd name="connsiteY4" fmla="*/ 1614928 h 2376928"/>
              <a:gd name="connsiteX5" fmla="*/ 8224520 w 8224520"/>
              <a:gd name="connsiteY5" fmla="*/ 2376928 h 2376928"/>
              <a:gd name="connsiteX6" fmla="*/ 8097520 w 8224520"/>
              <a:gd name="connsiteY6" fmla="*/ 2376928 h 2376928"/>
              <a:gd name="connsiteX0" fmla="*/ 0 w 8224520"/>
              <a:gd name="connsiteY0" fmla="*/ 0 h 2376928"/>
              <a:gd name="connsiteX1" fmla="*/ 127000 w 8224520"/>
              <a:gd name="connsiteY1" fmla="*/ 1 h 2376928"/>
              <a:gd name="connsiteX2" fmla="*/ 127000 w 8224520"/>
              <a:gd name="connsiteY2" fmla="*/ 777860 h 2376928"/>
              <a:gd name="connsiteX3" fmla="*/ 190500 w 8224520"/>
              <a:gd name="connsiteY3" fmla="*/ 825501 h 2376928"/>
              <a:gd name="connsiteX4" fmla="*/ 127000 w 8224520"/>
              <a:gd name="connsiteY4" fmla="*/ 873142 h 2376928"/>
              <a:gd name="connsiteX5" fmla="*/ 8224520 w 8224520"/>
              <a:gd name="connsiteY5" fmla="*/ 2376928 h 2376928"/>
              <a:gd name="connsiteX6" fmla="*/ 8097520 w 8224520"/>
              <a:gd name="connsiteY6" fmla="*/ 2376928 h 2376928"/>
              <a:gd name="connsiteX0" fmla="*/ 0 w 8097520"/>
              <a:gd name="connsiteY0" fmla="*/ 0 h 2376928"/>
              <a:gd name="connsiteX1" fmla="*/ 127000 w 8097520"/>
              <a:gd name="connsiteY1" fmla="*/ 1 h 2376928"/>
              <a:gd name="connsiteX2" fmla="*/ 127000 w 8097520"/>
              <a:gd name="connsiteY2" fmla="*/ 777860 h 2376928"/>
              <a:gd name="connsiteX3" fmla="*/ 190500 w 8097520"/>
              <a:gd name="connsiteY3" fmla="*/ 825501 h 2376928"/>
              <a:gd name="connsiteX4" fmla="*/ 127000 w 8097520"/>
              <a:gd name="connsiteY4" fmla="*/ 873142 h 2376928"/>
              <a:gd name="connsiteX5" fmla="*/ 127000 w 8097520"/>
              <a:gd name="connsiteY5" fmla="*/ 1651002 h 2376928"/>
              <a:gd name="connsiteX6" fmla="*/ 8097520 w 8097520"/>
              <a:gd name="connsiteY6" fmla="*/ 2376928 h 2376928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77860 h 1651002"/>
              <a:gd name="connsiteX3" fmla="*/ 190500 w 190500"/>
              <a:gd name="connsiteY3" fmla="*/ 825501 h 1651002"/>
              <a:gd name="connsiteX4" fmla="*/ 127000 w 190500"/>
              <a:gd name="connsiteY4" fmla="*/ 873142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77860"/>
                </a:lnTo>
                <a:lnTo>
                  <a:pt x="190500" y="825501"/>
                </a:lnTo>
                <a:lnTo>
                  <a:pt x="127000" y="873142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GB" sz="112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Rectangle 65"/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464077" y="3284984"/>
            <a:ext cx="8284386" cy="919798"/>
          </a:xfrm>
          <a:prstGeom prst="rect">
            <a:avLst/>
          </a:prstGeom>
          <a:solidFill>
            <a:schemeClr val="accent4">
              <a:lumMod val="10000"/>
              <a:lumOff val="9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122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517148D2-8149-4674-8E33-5D2FA6C9B044}"/>
              </a:ext>
            </a:extLst>
          </p:cNvPr>
          <p:cNvGrpSpPr/>
          <p:nvPr/>
        </p:nvGrpSpPr>
        <p:grpSpPr>
          <a:xfrm>
            <a:off x="549352" y="3429000"/>
            <a:ext cx="7734377" cy="643118"/>
            <a:chOff x="209603" y="3672238"/>
            <a:chExt cx="8212106" cy="603076"/>
          </a:xfrm>
        </p:grpSpPr>
        <p:sp>
          <p:nvSpPr>
            <p:cNvPr id="17" name="AutoShape 25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318875" y="4040444"/>
              <a:ext cx="556243" cy="1652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СА</a:t>
              </a:r>
            </a:p>
          </p:txBody>
        </p:sp>
        <p:pic>
          <p:nvPicPr>
            <p:cNvPr id="22" name="Picture 7" descr="C:\Users\kban\YandexDisk\Tourism\Media\Флаги стран\Saudi Arabia.png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47" y="3979582"/>
              <a:ext cx="295200" cy="29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8" descr="C:\Users\kban\YandexDisk\Tourism\Media\Флаги стран\Bahrain.png"/>
            <p:cNvPicPr>
              <a:picLocks noChangeArrowheads="1"/>
            </p:cNvPicPr>
            <p:nvPr>
              <p:custDataLst>
                <p:tags r:id="rId18"/>
              </p:custDataLst>
            </p:nvPr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603" y="3672238"/>
              <a:ext cx="295200" cy="29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9" descr="C:\Users\kban\YandexDisk\Tourism\Media\Флаги стран\Kuwait.png"/>
            <p:cNvPicPr>
              <a:picLocks noChangeArrowheads="1"/>
            </p:cNvPicPr>
            <p:nvPr>
              <p:custDataLst>
                <p:tags r:id="rId19"/>
              </p:custDataLst>
            </p:nvPr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603" y="3979582"/>
              <a:ext cx="295200" cy="29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AutoShape 25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53531" y="3736388"/>
              <a:ext cx="639591" cy="1619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Бахрейн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  <p:sp>
          <p:nvSpPr>
            <p:cNvPr id="32" name="AutoShape 25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53531" y="4040445"/>
              <a:ext cx="556243" cy="1652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Кувейт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  <p:pic>
          <p:nvPicPr>
            <p:cNvPr id="25" name="Picture 10" descr="C:\Users\kban\YandexDisk\Tourism\Media\Флаги стран\Oman.png"/>
            <p:cNvPicPr>
              <a:picLocks noChangeArrowheads="1"/>
            </p:cNvPicPr>
            <p:nvPr>
              <p:custDataLst>
                <p:tags r:id="rId22"/>
              </p:custDataLst>
            </p:nvPr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266" y="3672238"/>
              <a:ext cx="295200" cy="29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AutoShape 250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505282" y="3736389"/>
              <a:ext cx="528853" cy="1619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Оман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  <p:pic>
          <p:nvPicPr>
            <p:cNvPr id="26" name="Picture 11" descr="C:\Users\kban\YandexDisk\Tourism\Media\Флаги стран\Qatar.png"/>
            <p:cNvPicPr>
              <a:picLocks noChangeArrowheads="1"/>
            </p:cNvPicPr>
            <p:nvPr>
              <p:custDataLst>
                <p:tags r:id="rId24"/>
              </p:custDataLst>
            </p:nvPr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266" y="3979582"/>
              <a:ext cx="295200" cy="29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AutoShape 25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505282" y="4043733"/>
              <a:ext cx="469665" cy="1619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Катар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B964AAB2-C603-4ABA-8CBB-AF05FBED0546}"/>
                </a:ext>
              </a:extLst>
            </p:cNvPr>
            <p:cNvSpPr txBox="1"/>
            <p:nvPr/>
          </p:nvSpPr>
          <p:spPr>
            <a:xfrm>
              <a:off x="2722236" y="3739763"/>
              <a:ext cx="5699473" cy="46178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Введения </a:t>
              </a:r>
              <a:r>
                <a:rPr lang="ru-RU" sz="1600" b="1" dirty="0" smtClean="0">
                  <a:solidFill>
                    <a:srgbClr val="FF0000"/>
                  </a:solidFill>
                  <a:latin typeface="Arial"/>
                </a:rPr>
                <a:t>безвизового режима</a:t>
              </a:r>
              <a:endParaRPr lang="ru-RU" sz="1600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Выдача </a:t>
              </a:r>
              <a:r>
                <a:rPr lang="ru-RU" sz="1600" b="1" dirty="0" smtClean="0">
                  <a:solidFill>
                    <a:srgbClr val="FF0000"/>
                  </a:solidFill>
                  <a:latin typeface="Arial"/>
                </a:rPr>
                <a:t>виз </a:t>
              </a:r>
              <a:r>
                <a:rPr lang="ru-RU" sz="1600" b="1" dirty="0">
                  <a:solidFill>
                    <a:srgbClr val="FF0000"/>
                  </a:solidFill>
                  <a:latin typeface="Arial"/>
                </a:rPr>
                <a:t>по </a:t>
              </a:r>
              <a:r>
                <a:rPr lang="ru-RU" sz="1600" b="1" dirty="0" smtClean="0">
                  <a:solidFill>
                    <a:srgbClr val="FF0000"/>
                  </a:solidFill>
                  <a:latin typeface="Arial"/>
                </a:rPr>
                <a:t>прибытию </a:t>
              </a: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в Казахстан</a:t>
              </a:r>
              <a:endParaRPr lang="en-GB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8604448" y="6453336"/>
            <a:ext cx="512382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0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14399" name="Picture 63" descr="C:\Users\b.akshalov\Desktop\Без названия.jpg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5229199"/>
            <a:ext cx="1008113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025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457658" y="44624"/>
            <a:ext cx="806233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ru-RU" sz="2400" u="sng" kern="1200" dirty="0">
                <a:solidFill>
                  <a:schemeClr val="tx2">
                    <a:lumMod val="75000"/>
                  </a:schemeClr>
                </a:solidFill>
              </a:rPr>
              <a:t>Третий приоритет</a:t>
            </a:r>
            <a:r>
              <a:rPr lang="ru-RU" sz="2400" kern="1200" dirty="0">
                <a:solidFill>
                  <a:schemeClr val="tx2">
                    <a:lumMod val="75000"/>
                  </a:schemeClr>
                </a:solidFill>
              </a:rPr>
              <a:t>: </a:t>
            </a:r>
            <a:br>
              <a:rPr lang="ru-RU" sz="2400" kern="12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«Повышение транспортной доступности»</a:t>
            </a:r>
            <a:endParaRPr lang="en-US" sz="2400" kern="12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03A4D8FC-74F9-4C0B-8499-688D14A2634C}"/>
              </a:ext>
            </a:extLst>
          </p:cNvPr>
          <p:cNvGrpSpPr>
            <a:grpSpLocks/>
          </p:cNvGrpSpPr>
          <p:nvPr/>
        </p:nvGrpSpPr>
        <p:grpSpPr>
          <a:xfrm>
            <a:off x="464077" y="881142"/>
            <a:ext cx="8062332" cy="5649670"/>
            <a:chOff x="119063" y="960437"/>
            <a:chExt cx="8560318" cy="5166729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E2AB8D24-F014-4B52-A967-93F9281D645F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960437"/>
              <a:ext cx="8560318" cy="451406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lIns="103664" tIns="103664" rIns="103664" bIns="103664" rtlCol="0" anchor="ctr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2000" b="1" dirty="0" smtClean="0">
                  <a:solidFill>
                    <a:srgbClr val="000000"/>
                  </a:solidFill>
                  <a:latin typeface="Arial"/>
                </a:rPr>
                <a:t>Авиаперевозки</a:t>
              </a:r>
              <a:endParaRPr lang="ru-RU" sz="20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5153E671-EAAD-4398-8FE2-50C0795EF423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1437601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Поэтапно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применять элементы политик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«Открытого неба»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по 5 степени свободы воздуха над городам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Астана, </a:t>
              </a:r>
              <a:r>
                <a:rPr lang="ru-RU" sz="1632" b="1" dirty="0" smtClean="0">
                  <a:solidFill>
                    <a:srgbClr val="000000"/>
                  </a:solidFill>
                  <a:latin typeface="Arial"/>
                </a:rPr>
                <a:t>Алматы, Шымкент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и Актау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 по целевым рынкам с учетом интересов национальных перевозчиков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2B93AE72-7AAF-46C6-BC2C-601ED50B7054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2227781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Провест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реконструкцию </a:t>
              </a:r>
              <a:r>
                <a:rPr lang="ru-RU" sz="1632" b="1" dirty="0" smtClean="0">
                  <a:solidFill>
                    <a:srgbClr val="000000"/>
                  </a:solidFill>
                  <a:latin typeface="Arial"/>
                </a:rPr>
                <a:t>взлетно-посадочных полос 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терминалов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к </a:t>
              </a:r>
              <a:r>
                <a:rPr lang="ru-RU" sz="1632" dirty="0" smtClean="0">
                  <a:solidFill>
                    <a:srgbClr val="000000"/>
                  </a:solidFill>
                  <a:latin typeface="Arial"/>
                </a:rPr>
                <a:t>ТОП-10, обновление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и улучшение технического оснащения и оборудования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77A2F42A-C7FD-46FF-AA6C-2FBDC128BDDB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5388502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Внедрить программу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«KIDS GO FREE» 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путем субсидирования перелетов детей во время каникул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D4924026-BDFA-449C-822A-9BD55D7F19E9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4598321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Ввести </a:t>
              </a:r>
              <a:r>
                <a:rPr lang="ru-RU" sz="1632" b="1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государственное регулирование 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цен на </a:t>
              </a:r>
              <a:r>
                <a:rPr lang="ru-RU" sz="1632" b="1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авиакеросин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 </a:t>
              </a:r>
              <a:endParaRPr lang="ru-RU" sz="163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9A3AADC2-E3F0-4FF0-A4AE-88DA8EC50B59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3808141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Обеспечить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субсидирование 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региональных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аэропортов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 к ТОП-10 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A5EF63CC-AC0E-4C2F-8496-F023C5E7B342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3017961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Увеличить количество </a:t>
              </a:r>
              <a:r>
                <a:rPr lang="ru-RU" sz="1632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маршрутов внутренних авиаперевозок </a:t>
              </a:r>
              <a:r>
                <a:rPr lang="ru-RU" sz="1632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между регионами страны путем субсидирования к ТОП-10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xmlns="" id="{B7A61182-0640-4346-925C-3881D608EE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202023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xmlns="" id="{9527BA5F-2F89-4C34-BDBF-0348E97BBE60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992203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xmlns="" id="{BA5AC031-8435-4759-853D-2E9064BDE8E1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3782383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3E5427BA-CFF4-4DCF-B057-FBB9EFCC0041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4572563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C34BE4E2-0B90-4C95-B276-88DFBE3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5362743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8526409" y="6453337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1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872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31B5B004-4C2F-4323-A1D3-731BEB8F7E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439" y="1622"/>
          <a:ext cx="149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31B5B004-4C2F-4323-A1D3-731BEB8F7E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3439" y="1622"/>
                        <a:ext cx="149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1BD862AF-4C41-4A2A-8EE5-4C9552A455D4}"/>
              </a:ext>
            </a:extLst>
          </p:cNvPr>
          <p:cNvGrpSpPr/>
          <p:nvPr/>
        </p:nvGrpSpPr>
        <p:grpSpPr>
          <a:xfrm>
            <a:off x="542116" y="332656"/>
            <a:ext cx="8062332" cy="5904656"/>
            <a:chOff x="119063" y="858837"/>
            <a:chExt cx="8560318" cy="5399570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3927748" y="3643087"/>
              <a:ext cx="4696460" cy="2615320"/>
              <a:chOff x="346496" y="1484784"/>
              <a:chExt cx="8460432" cy="4896544"/>
            </a:xfrm>
          </p:grpSpPr>
          <p:grpSp>
            <p:nvGrpSpPr>
              <p:cNvPr id="37" name="Группа 36"/>
              <p:cNvGrpSpPr/>
              <p:nvPr/>
            </p:nvGrpSpPr>
            <p:grpSpPr>
              <a:xfrm>
                <a:off x="346496" y="1484784"/>
                <a:ext cx="8460432" cy="4896544"/>
                <a:chOff x="839880" y="1484784"/>
                <a:chExt cx="7980592" cy="4536504"/>
              </a:xfrm>
            </p:grpSpPr>
            <p:grpSp>
              <p:nvGrpSpPr>
                <p:cNvPr id="50" name="Группа 49"/>
                <p:cNvGrpSpPr/>
                <p:nvPr/>
              </p:nvGrpSpPr>
              <p:grpSpPr>
                <a:xfrm>
                  <a:off x="839880" y="1484784"/>
                  <a:ext cx="7980592" cy="4536504"/>
                  <a:chOff x="1734221" y="900593"/>
                  <a:chExt cx="8543783" cy="4917721"/>
                </a:xfrm>
              </p:grpSpPr>
              <p:grpSp>
                <p:nvGrpSpPr>
                  <p:cNvPr id="53" name="Группа 52"/>
                  <p:cNvGrpSpPr/>
                  <p:nvPr/>
                </p:nvGrpSpPr>
                <p:grpSpPr>
                  <a:xfrm>
                    <a:off x="1734221" y="900593"/>
                    <a:ext cx="8543783" cy="4917721"/>
                    <a:chOff x="1734221" y="900593"/>
                    <a:chExt cx="8543783" cy="4917721"/>
                  </a:xfrm>
                </p:grpSpPr>
                <p:pic>
                  <p:nvPicPr>
                    <p:cNvPr id="55" name="Рисунок 54"/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734221" y="900593"/>
                      <a:ext cx="8543783" cy="4917721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56" name="5-конечная звезда 55"/>
                    <p:cNvSpPr/>
                    <p:nvPr/>
                  </p:nvSpPr>
                  <p:spPr>
                    <a:xfrm>
                      <a:off x="6877050" y="2254250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7" name="5-конечная звезда 56"/>
                    <p:cNvSpPr/>
                    <p:nvPr/>
                  </p:nvSpPr>
                  <p:spPr>
                    <a:xfrm>
                      <a:off x="9182100" y="3543300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8" name="5-конечная звезда 57"/>
                    <p:cNvSpPr/>
                    <p:nvPr/>
                  </p:nvSpPr>
                  <p:spPr>
                    <a:xfrm>
                      <a:off x="8349367" y="4548314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9" name="5-конечная звезда 58"/>
                    <p:cNvSpPr/>
                    <p:nvPr/>
                  </p:nvSpPr>
                  <p:spPr>
                    <a:xfrm>
                      <a:off x="3389908" y="4267348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0" name="5-конечная звезда 59"/>
                    <p:cNvSpPr/>
                    <p:nvPr/>
                  </p:nvSpPr>
                  <p:spPr>
                    <a:xfrm>
                      <a:off x="6383295" y="4722536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1" name="5-конечная звезда 60"/>
                    <p:cNvSpPr/>
                    <p:nvPr/>
                  </p:nvSpPr>
                  <p:spPr>
                    <a:xfrm>
                      <a:off x="8719568" y="4138626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2" name="5-конечная звезда 61"/>
                    <p:cNvSpPr/>
                    <p:nvPr/>
                  </p:nvSpPr>
                  <p:spPr>
                    <a:xfrm>
                      <a:off x="7864549" y="3672022"/>
                      <a:ext cx="133350" cy="128722"/>
                    </a:xfrm>
                    <a:prstGeom prst="star5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32962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632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</p:grpSp>
              <p:sp>
                <p:nvSpPr>
                  <p:cNvPr id="54" name="5-конечная звезда 53"/>
                  <p:cNvSpPr/>
                  <p:nvPr/>
                </p:nvSpPr>
                <p:spPr>
                  <a:xfrm>
                    <a:off x="8049733" y="2041871"/>
                    <a:ext cx="133350" cy="128722"/>
                  </a:xfrm>
                  <a:prstGeom prst="star5">
                    <a:avLst/>
                  </a:prstGeom>
                  <a:solidFill>
                    <a:srgbClr val="FF0000"/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96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632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51" name="5-конечная звезда 50"/>
                <p:cNvSpPr/>
                <p:nvPr/>
              </p:nvSpPr>
              <p:spPr>
                <a:xfrm>
                  <a:off x="5032895" y="1951408"/>
                  <a:ext cx="124560" cy="118744"/>
                </a:xfrm>
                <a:prstGeom prst="star5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96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32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52" name="5-конечная звезда 51"/>
                <p:cNvSpPr/>
                <p:nvPr/>
              </p:nvSpPr>
              <p:spPr>
                <a:xfrm>
                  <a:off x="5090920" y="2652376"/>
                  <a:ext cx="124560" cy="118744"/>
                </a:xfrm>
                <a:prstGeom prst="star5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96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32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38" name="Овал 37"/>
              <p:cNvSpPr/>
              <p:nvPr/>
            </p:nvSpPr>
            <p:spPr>
              <a:xfrm>
                <a:off x="4260155" y="4691299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0" name="Овал 39"/>
              <p:cNvSpPr/>
              <p:nvPr/>
            </p:nvSpPr>
            <p:spPr>
              <a:xfrm>
                <a:off x="1331640" y="4220690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1" name="Овал 40"/>
              <p:cNvSpPr/>
              <p:nvPr/>
            </p:nvSpPr>
            <p:spPr>
              <a:xfrm>
                <a:off x="4163073" y="1520222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2" name="Овал 41"/>
              <p:cNvSpPr/>
              <p:nvPr/>
            </p:nvSpPr>
            <p:spPr>
              <a:xfrm>
                <a:off x="4097049" y="2152931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4" name="Овал 43"/>
              <p:cNvSpPr/>
              <p:nvPr/>
            </p:nvSpPr>
            <p:spPr>
              <a:xfrm>
                <a:off x="4791620" y="2247743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5" name="Овал 44"/>
              <p:cNvSpPr/>
              <p:nvPr/>
            </p:nvSpPr>
            <p:spPr>
              <a:xfrm>
                <a:off x="5835536" y="2123852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6" name="Овал 45"/>
              <p:cNvSpPr/>
              <p:nvPr/>
            </p:nvSpPr>
            <p:spPr>
              <a:xfrm>
                <a:off x="5718836" y="3676239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7" name="Овал 46"/>
              <p:cNvSpPr/>
              <p:nvPr/>
            </p:nvSpPr>
            <p:spPr>
              <a:xfrm>
                <a:off x="7097680" y="3441825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8" name="Овал 47"/>
              <p:cNvSpPr/>
              <p:nvPr/>
            </p:nvSpPr>
            <p:spPr>
              <a:xfrm>
                <a:off x="6600395" y="4085253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9" name="Овал 48"/>
              <p:cNvSpPr/>
              <p:nvPr/>
            </p:nvSpPr>
            <p:spPr>
              <a:xfrm>
                <a:off x="6141022" y="4273748"/>
                <a:ext cx="1512168" cy="1440558"/>
              </a:xfrm>
              <a:prstGeom prst="ellipse">
                <a:avLst/>
              </a:prstGeom>
              <a:noFill/>
              <a:ln w="38100">
                <a:solidFill>
                  <a:srgbClr val="00206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B349E8A4-6E31-4BD2-A6D5-05ED938E7B2E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858837"/>
              <a:ext cx="8560318" cy="46559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lIns="103664" tIns="103664" rIns="103664" bIns="103664" rtlCol="0" anchor="ctr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2000" b="1" dirty="0">
                  <a:solidFill>
                    <a:srgbClr val="000000"/>
                  </a:solidFill>
                  <a:latin typeface="Arial"/>
                </a:rPr>
                <a:t>Автодороги и придорожный сервис 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930D1469-3726-4DB5-AFEC-FBCDA6991AB7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1463422"/>
              <a:ext cx="8560318" cy="5218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Продолжить строительство и реконструкцию автомобильных дорог к ТОП-10 в радиусе 500 км, в </a:t>
              </a:r>
              <a:r>
                <a:rPr lang="ru-RU" sz="1632" dirty="0" err="1">
                  <a:solidFill>
                    <a:srgbClr val="000000"/>
                  </a:solidFill>
                  <a:latin typeface="Arial"/>
                </a:rPr>
                <a:t>т.ч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.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«последней мили»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35A69E92-B819-4020-8BC2-C8D86A38CC04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4978627"/>
              <a:ext cx="3621063" cy="12207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Обеспечить строительство и реконструкцию инфраструктуры и пассажирских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терминалов пунктов пропуска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, в том числе с применением механизмов </a:t>
              </a:r>
              <a:r>
                <a:rPr lang="ru-RU" sz="1632" dirty="0" err="1">
                  <a:solidFill>
                    <a:srgbClr val="000000"/>
                  </a:solidFill>
                  <a:latin typeface="Arial"/>
                </a:rPr>
                <a:t>ГЧП</a:t>
              </a:r>
              <a:endParaRPr lang="ru-RU" sz="163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785D7951-70A6-490B-B089-8E8DFFCDCEDB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3920782"/>
              <a:ext cx="3621063" cy="76188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Разработать дорожные карты по модернизаци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пунктов пропуска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для каждой приграничной области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4582ACA0-C0AC-4FD4-A353-F91FC9E764C7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3101027"/>
              <a:ext cx="8560318" cy="48829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>
                  <a:solidFill>
                    <a:srgbClr val="000000"/>
                  </a:solidFill>
                  <a:latin typeface="Arial"/>
                </a:rPr>
                <a:t>Обеспечить приоритет строительства и реконструкции объектов</a:t>
              </a:r>
              <a:r>
                <a:rPr lang="ru-RU" sz="1632" b="1">
                  <a:solidFill>
                    <a:srgbClr val="000000"/>
                  </a:solidFill>
                  <a:latin typeface="Arial"/>
                </a:rPr>
                <a:t> придорожного сервиса</a:t>
              </a:r>
              <a:r>
                <a:rPr lang="ru-RU" sz="1632">
                  <a:solidFill>
                    <a:srgbClr val="000000"/>
                  </a:solidFill>
                  <a:latin typeface="Arial"/>
                </a:rPr>
                <a:t> к ТОП-10 в радиусе 500 км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A2D8D6FF-962A-48B5-95EB-4C811E6D6209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2281272"/>
              <a:ext cx="8560318" cy="48829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>
                  <a:solidFill>
                    <a:srgbClr val="000000"/>
                  </a:solidFill>
                  <a:latin typeface="Arial"/>
                </a:rPr>
                <a:t>Передвинуть </a:t>
              </a:r>
              <a:r>
                <a:rPr lang="ru-RU" sz="1632" b="1">
                  <a:solidFill>
                    <a:srgbClr val="000000"/>
                  </a:solidFill>
                  <a:latin typeface="Arial"/>
                </a:rPr>
                <a:t>графики строительства </a:t>
              </a:r>
              <a:r>
                <a:rPr lang="ru-RU" sz="1632">
                  <a:solidFill>
                    <a:srgbClr val="000000"/>
                  </a:solidFill>
                  <a:latin typeface="Arial"/>
                </a:rPr>
                <a:t>автодорог к ТОП-10 объектам Карты туристификации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xmlns="" id="{B710E707-F924-4033-B286-111585CCF8ED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133294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xmlns="" id="{DAAE1FB1-1D51-458B-8235-915F3B22F00C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953048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xmlns="" id="{B352F7CA-66CD-4DCC-9A62-80B1F447B7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3772803"/>
              <a:ext cx="3621063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xmlns="" id="{E65A6434-B867-4292-94AD-9C3249A594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4830648"/>
              <a:ext cx="3621063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8493667" y="6453337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2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63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D1E683C3-5C67-45FD-8C6E-01A45FA38E4B}"/>
              </a:ext>
            </a:extLst>
          </p:cNvPr>
          <p:cNvGrpSpPr>
            <a:grpSpLocks/>
          </p:cNvGrpSpPr>
          <p:nvPr/>
        </p:nvGrpSpPr>
        <p:grpSpPr>
          <a:xfrm>
            <a:off x="464077" y="404664"/>
            <a:ext cx="8062332" cy="5649670"/>
            <a:chOff x="249528" y="655637"/>
            <a:chExt cx="8299386" cy="5657946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EDE48EB1-D5D4-49A6-938D-2E08613C85B9}"/>
                </a:ext>
              </a:extLst>
            </p:cNvPr>
            <p:cNvSpPr txBox="1">
              <a:spLocks/>
            </p:cNvSpPr>
            <p:nvPr/>
          </p:nvSpPr>
          <p:spPr>
            <a:xfrm>
              <a:off x="249529" y="655637"/>
              <a:ext cx="8299385" cy="451406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lIns="103664" tIns="103664" rIns="103664" bIns="103664" rtlCol="0" anchor="ctr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800" b="1" dirty="0" smtClean="0">
                  <a:solidFill>
                    <a:srgbClr val="000000"/>
                  </a:solidFill>
                </a:rPr>
                <a:t>Авто и железнодорожные перевозки</a:t>
              </a:r>
              <a:endParaRPr lang="ru-RU" sz="18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0ADEBCF4-9528-4EE4-9532-78D022F816FA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2117049"/>
              <a:ext cx="6953272" cy="5132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Увеличить количество международных и внутренних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автомобильных маршрутов 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к ТОП-10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A5AAFC80-5DF6-4AC2-AFB3-AC44D8F380AC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2918773"/>
              <a:ext cx="6953272" cy="5132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Установить режим приоритетного контроля и пропуска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туристского пассажирского транспорта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E0E6B930-00CC-4251-819C-AE74E4483CE6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3991999"/>
              <a:ext cx="6953272" cy="5132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Провести работу по  строительству и реконструкци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железнодорожных вокзалов и станций 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к ТОП-10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F4B8B587-F9CC-4155-AD66-D4684690CA1D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5444487"/>
              <a:ext cx="6953272" cy="5030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Увеличить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субсидирование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 железнодорожных пассажирских перевозок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6D07BF78-CC53-4B4C-862B-8BB22CC34AD7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4713134"/>
              <a:ext cx="6953272" cy="5132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Увеличить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маршруты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 международных и внутренних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железнодорожных перевозок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xmlns="" id="{2B58F1FA-F444-4C3E-8BF1-D791254652CB}"/>
                </a:ext>
              </a:extLst>
            </p:cNvPr>
            <p:cNvCxnSpPr>
              <a:cxnSpLocks/>
            </p:cNvCxnSpPr>
            <p:nvPr/>
          </p:nvCxnSpPr>
          <p:spPr>
            <a:xfrm>
              <a:off x="1595642" y="2778407"/>
              <a:ext cx="6953272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FBE11EB3-5F31-4C6C-B03C-180B03050586}"/>
                </a:ext>
              </a:extLst>
            </p:cNvPr>
            <p:cNvCxnSpPr>
              <a:cxnSpLocks/>
            </p:cNvCxnSpPr>
            <p:nvPr/>
          </p:nvCxnSpPr>
          <p:spPr>
            <a:xfrm>
              <a:off x="1595642" y="1981298"/>
              <a:ext cx="6953272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xmlns="" id="{BEAC60A7-8A65-4EA9-AF9F-4E562BEC6016}"/>
                </a:ext>
              </a:extLst>
            </p:cNvPr>
            <p:cNvCxnSpPr>
              <a:cxnSpLocks/>
            </p:cNvCxnSpPr>
            <p:nvPr/>
          </p:nvCxnSpPr>
          <p:spPr>
            <a:xfrm>
              <a:off x="249530" y="3759132"/>
              <a:ext cx="8299384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xmlns="" id="{38714F3C-870F-4724-AED5-A9716F21DABB}"/>
                </a:ext>
              </a:extLst>
            </p:cNvPr>
            <p:cNvCxnSpPr>
              <a:cxnSpLocks/>
            </p:cNvCxnSpPr>
            <p:nvPr/>
          </p:nvCxnSpPr>
          <p:spPr>
            <a:xfrm>
              <a:off x="1595642" y="4577383"/>
              <a:ext cx="6953272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2EAC5B76-F4D2-4AC9-B155-7F04BE0B7CEC}"/>
                </a:ext>
              </a:extLst>
            </p:cNvPr>
            <p:cNvCxnSpPr>
              <a:cxnSpLocks/>
            </p:cNvCxnSpPr>
            <p:nvPr/>
          </p:nvCxnSpPr>
          <p:spPr>
            <a:xfrm>
              <a:off x="1595642" y="5370632"/>
              <a:ext cx="6953272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xmlns="" id="{89CF95F9-C31D-4FFF-8B1B-1BAACB9CDB20}"/>
                </a:ext>
              </a:extLst>
            </p:cNvPr>
            <p:cNvCxnSpPr>
              <a:cxnSpLocks/>
            </p:cNvCxnSpPr>
            <p:nvPr/>
          </p:nvCxnSpPr>
          <p:spPr>
            <a:xfrm>
              <a:off x="1595642" y="6163880"/>
              <a:ext cx="6953272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F3C69820-4122-45D9-9AAE-2F4462236BA9}"/>
                </a:ext>
              </a:extLst>
            </p:cNvPr>
            <p:cNvSpPr txBox="1">
              <a:spLocks/>
            </p:cNvSpPr>
            <p:nvPr/>
          </p:nvSpPr>
          <p:spPr>
            <a:xfrm>
              <a:off x="1595642" y="1344628"/>
              <a:ext cx="695327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Провести работу по строительству и реконструкции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автовокзалов и автостанций</a:t>
              </a:r>
              <a:r>
                <a:rPr lang="ru-RU" sz="1632" dirty="0">
                  <a:solidFill>
                    <a:srgbClr val="000000"/>
                  </a:solidFill>
                  <a:latin typeface="Arial"/>
                  <a:cs typeface="Segoe UI" panose="020B0502040204020203" pitchFamily="34" charset="0"/>
                </a:rPr>
                <a:t> к ТОП-1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30005144-5AE3-4118-9E8C-72B481CCE1A6}"/>
                </a:ext>
              </a:extLst>
            </p:cNvPr>
            <p:cNvSpPr>
              <a:spLocks/>
            </p:cNvSpPr>
            <p:nvPr/>
          </p:nvSpPr>
          <p:spPr>
            <a:xfrm>
              <a:off x="249529" y="1204685"/>
              <a:ext cx="1215645" cy="2470922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ru-RU" sz="1632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4F2D2D95-EDE4-4C4F-9702-C1CB52E705C0}"/>
                </a:ext>
              </a:extLst>
            </p:cNvPr>
            <p:cNvSpPr>
              <a:spLocks/>
            </p:cNvSpPr>
            <p:nvPr/>
          </p:nvSpPr>
          <p:spPr>
            <a:xfrm>
              <a:off x="249529" y="3842661"/>
              <a:ext cx="1215645" cy="2470922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ru-RU" sz="1632" dirty="0" err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62" name="CustomIcon">
              <a:extLst>
                <a:ext uri="{FF2B5EF4-FFF2-40B4-BE49-F238E27FC236}">
                  <a16:creationId xmlns:a16="http://schemas.microsoft.com/office/drawing/2014/main" xmlns="" id="{1B75FB69-1526-448A-9350-423127B8379C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249529" y="5066458"/>
              <a:ext cx="955157" cy="1247125"/>
              <a:chOff x="-19050" y="0"/>
              <a:chExt cx="5146675" cy="6719888"/>
            </a:xfrm>
            <a:solidFill>
              <a:schemeClr val="bg2"/>
            </a:solidFill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xmlns="" id="{DBC55EB5-15B2-4869-A4DD-42861D88D3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9050" y="0"/>
                <a:ext cx="5146675" cy="6719888"/>
              </a:xfrm>
              <a:custGeom>
                <a:avLst/>
                <a:gdLst>
                  <a:gd name="T0" fmla="*/ 2443 w 2451"/>
                  <a:gd name="T1" fmla="*/ 2175 h 3200"/>
                  <a:gd name="T2" fmla="*/ 2443 w 2451"/>
                  <a:gd name="T3" fmla="*/ 450 h 3200"/>
                  <a:gd name="T4" fmla="*/ 1992 w 2451"/>
                  <a:gd name="T5" fmla="*/ 0 h 3200"/>
                  <a:gd name="T6" fmla="*/ 459 w 2451"/>
                  <a:gd name="T7" fmla="*/ 0 h 3200"/>
                  <a:gd name="T8" fmla="*/ 9 w 2451"/>
                  <a:gd name="T9" fmla="*/ 450 h 3200"/>
                  <a:gd name="T10" fmla="*/ 9 w 2451"/>
                  <a:gd name="T11" fmla="*/ 2175 h 3200"/>
                  <a:gd name="T12" fmla="*/ 379 w 2451"/>
                  <a:gd name="T13" fmla="*/ 2618 h 3200"/>
                  <a:gd name="T14" fmla="*/ 22 w 2451"/>
                  <a:gd name="T15" fmla="*/ 3093 h 3200"/>
                  <a:gd name="T16" fmla="*/ 36 w 2451"/>
                  <a:gd name="T17" fmla="*/ 3187 h 3200"/>
                  <a:gd name="T18" fmla="*/ 76 w 2451"/>
                  <a:gd name="T19" fmla="*/ 3200 h 3200"/>
                  <a:gd name="T20" fmla="*/ 130 w 2451"/>
                  <a:gd name="T21" fmla="*/ 3173 h 3200"/>
                  <a:gd name="T22" fmla="*/ 253 w 2451"/>
                  <a:gd name="T23" fmla="*/ 3008 h 3200"/>
                  <a:gd name="T24" fmla="*/ 2198 w 2451"/>
                  <a:gd name="T25" fmla="*/ 3008 h 3200"/>
                  <a:gd name="T26" fmla="*/ 2322 w 2451"/>
                  <a:gd name="T27" fmla="*/ 3173 h 3200"/>
                  <a:gd name="T28" fmla="*/ 2376 w 2451"/>
                  <a:gd name="T29" fmla="*/ 3200 h 3200"/>
                  <a:gd name="T30" fmla="*/ 2416 w 2451"/>
                  <a:gd name="T31" fmla="*/ 3187 h 3200"/>
                  <a:gd name="T32" fmla="*/ 2429 w 2451"/>
                  <a:gd name="T33" fmla="*/ 3093 h 3200"/>
                  <a:gd name="T34" fmla="*/ 2073 w 2451"/>
                  <a:gd name="T35" fmla="*/ 2618 h 3200"/>
                  <a:gd name="T36" fmla="*/ 2443 w 2451"/>
                  <a:gd name="T37" fmla="*/ 2175 h 3200"/>
                  <a:gd name="T38" fmla="*/ 1348 w 2451"/>
                  <a:gd name="T39" fmla="*/ 259 h 3200"/>
                  <a:gd name="T40" fmla="*/ 1224 w 2451"/>
                  <a:gd name="T41" fmla="*/ 383 h 3200"/>
                  <a:gd name="T42" fmla="*/ 1099 w 2451"/>
                  <a:gd name="T43" fmla="*/ 259 h 3200"/>
                  <a:gd name="T44" fmla="*/ 1224 w 2451"/>
                  <a:gd name="T45" fmla="*/ 134 h 3200"/>
                  <a:gd name="T46" fmla="*/ 1348 w 2451"/>
                  <a:gd name="T47" fmla="*/ 259 h 3200"/>
                  <a:gd name="T48" fmla="*/ 354 w 2451"/>
                  <a:gd name="T49" fmla="*/ 2874 h 3200"/>
                  <a:gd name="T50" fmla="*/ 541 w 2451"/>
                  <a:gd name="T51" fmla="*/ 2625 h 3200"/>
                  <a:gd name="T52" fmla="*/ 1911 w 2451"/>
                  <a:gd name="T53" fmla="*/ 2625 h 3200"/>
                  <a:gd name="T54" fmla="*/ 2098 w 2451"/>
                  <a:gd name="T55" fmla="*/ 2874 h 3200"/>
                  <a:gd name="T56" fmla="*/ 354 w 2451"/>
                  <a:gd name="T57" fmla="*/ 2874 h 3200"/>
                  <a:gd name="T58" fmla="*/ 2309 w 2451"/>
                  <a:gd name="T59" fmla="*/ 2175 h 3200"/>
                  <a:gd name="T60" fmla="*/ 1992 w 2451"/>
                  <a:gd name="T61" fmla="*/ 2491 h 3200"/>
                  <a:gd name="T62" fmla="*/ 459 w 2451"/>
                  <a:gd name="T63" fmla="*/ 2491 h 3200"/>
                  <a:gd name="T64" fmla="*/ 143 w 2451"/>
                  <a:gd name="T65" fmla="*/ 2175 h 3200"/>
                  <a:gd name="T66" fmla="*/ 143 w 2451"/>
                  <a:gd name="T67" fmla="*/ 450 h 3200"/>
                  <a:gd name="T68" fmla="*/ 459 w 2451"/>
                  <a:gd name="T69" fmla="*/ 134 h 3200"/>
                  <a:gd name="T70" fmla="*/ 997 w 2451"/>
                  <a:gd name="T71" fmla="*/ 134 h 3200"/>
                  <a:gd name="T72" fmla="*/ 965 w 2451"/>
                  <a:gd name="T73" fmla="*/ 259 h 3200"/>
                  <a:gd name="T74" fmla="*/ 1224 w 2451"/>
                  <a:gd name="T75" fmla="*/ 517 h 3200"/>
                  <a:gd name="T76" fmla="*/ 1482 w 2451"/>
                  <a:gd name="T77" fmla="*/ 259 h 3200"/>
                  <a:gd name="T78" fmla="*/ 1450 w 2451"/>
                  <a:gd name="T79" fmla="*/ 134 h 3200"/>
                  <a:gd name="T80" fmla="*/ 1992 w 2451"/>
                  <a:gd name="T81" fmla="*/ 134 h 3200"/>
                  <a:gd name="T82" fmla="*/ 2309 w 2451"/>
                  <a:gd name="T83" fmla="*/ 450 h 3200"/>
                  <a:gd name="T84" fmla="*/ 2309 w 2451"/>
                  <a:gd name="T85" fmla="*/ 2175 h 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51" h="3200">
                    <a:moveTo>
                      <a:pt x="2443" y="2175"/>
                    </a:moveTo>
                    <a:cubicBezTo>
                      <a:pt x="2443" y="450"/>
                      <a:pt x="2443" y="450"/>
                      <a:pt x="2443" y="450"/>
                    </a:cubicBezTo>
                    <a:cubicBezTo>
                      <a:pt x="2443" y="202"/>
                      <a:pt x="2241" y="0"/>
                      <a:pt x="1992" y="0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211" y="0"/>
                      <a:pt x="9" y="202"/>
                      <a:pt x="9" y="450"/>
                    </a:cubicBezTo>
                    <a:cubicBezTo>
                      <a:pt x="9" y="2175"/>
                      <a:pt x="9" y="2175"/>
                      <a:pt x="9" y="2175"/>
                    </a:cubicBezTo>
                    <a:cubicBezTo>
                      <a:pt x="9" y="2396"/>
                      <a:pt x="169" y="2580"/>
                      <a:pt x="379" y="2618"/>
                    </a:cubicBezTo>
                    <a:cubicBezTo>
                      <a:pt x="22" y="3093"/>
                      <a:pt x="22" y="3093"/>
                      <a:pt x="22" y="3093"/>
                    </a:cubicBezTo>
                    <a:cubicBezTo>
                      <a:pt x="0" y="3122"/>
                      <a:pt x="6" y="3164"/>
                      <a:pt x="36" y="3187"/>
                    </a:cubicBezTo>
                    <a:cubicBezTo>
                      <a:pt x="48" y="3196"/>
                      <a:pt x="62" y="3200"/>
                      <a:pt x="76" y="3200"/>
                    </a:cubicBezTo>
                    <a:cubicBezTo>
                      <a:pt x="96" y="3200"/>
                      <a:pt x="116" y="3191"/>
                      <a:pt x="130" y="3173"/>
                    </a:cubicBezTo>
                    <a:cubicBezTo>
                      <a:pt x="253" y="3008"/>
                      <a:pt x="253" y="3008"/>
                      <a:pt x="253" y="3008"/>
                    </a:cubicBezTo>
                    <a:cubicBezTo>
                      <a:pt x="2198" y="3008"/>
                      <a:pt x="2198" y="3008"/>
                      <a:pt x="2198" y="3008"/>
                    </a:cubicBezTo>
                    <a:cubicBezTo>
                      <a:pt x="2322" y="3173"/>
                      <a:pt x="2322" y="3173"/>
                      <a:pt x="2322" y="3173"/>
                    </a:cubicBezTo>
                    <a:cubicBezTo>
                      <a:pt x="2335" y="3191"/>
                      <a:pt x="2355" y="3200"/>
                      <a:pt x="2376" y="3200"/>
                    </a:cubicBezTo>
                    <a:cubicBezTo>
                      <a:pt x="2390" y="3200"/>
                      <a:pt x="2404" y="3196"/>
                      <a:pt x="2416" y="3187"/>
                    </a:cubicBezTo>
                    <a:cubicBezTo>
                      <a:pt x="2445" y="3164"/>
                      <a:pt x="2451" y="3122"/>
                      <a:pt x="2429" y="3093"/>
                    </a:cubicBezTo>
                    <a:cubicBezTo>
                      <a:pt x="2073" y="2618"/>
                      <a:pt x="2073" y="2618"/>
                      <a:pt x="2073" y="2618"/>
                    </a:cubicBezTo>
                    <a:cubicBezTo>
                      <a:pt x="2283" y="2580"/>
                      <a:pt x="2443" y="2396"/>
                      <a:pt x="2443" y="2175"/>
                    </a:cubicBezTo>
                    <a:close/>
                    <a:moveTo>
                      <a:pt x="1348" y="259"/>
                    </a:moveTo>
                    <a:cubicBezTo>
                      <a:pt x="1348" y="327"/>
                      <a:pt x="1292" y="383"/>
                      <a:pt x="1224" y="383"/>
                    </a:cubicBezTo>
                    <a:cubicBezTo>
                      <a:pt x="1155" y="383"/>
                      <a:pt x="1099" y="327"/>
                      <a:pt x="1099" y="259"/>
                    </a:cubicBezTo>
                    <a:cubicBezTo>
                      <a:pt x="1099" y="190"/>
                      <a:pt x="1155" y="134"/>
                      <a:pt x="1224" y="134"/>
                    </a:cubicBezTo>
                    <a:cubicBezTo>
                      <a:pt x="1292" y="134"/>
                      <a:pt x="1348" y="190"/>
                      <a:pt x="1348" y="259"/>
                    </a:cubicBezTo>
                    <a:close/>
                    <a:moveTo>
                      <a:pt x="354" y="2874"/>
                    </a:moveTo>
                    <a:cubicBezTo>
                      <a:pt x="541" y="2625"/>
                      <a:pt x="541" y="2625"/>
                      <a:pt x="541" y="2625"/>
                    </a:cubicBezTo>
                    <a:cubicBezTo>
                      <a:pt x="1911" y="2625"/>
                      <a:pt x="1911" y="2625"/>
                      <a:pt x="1911" y="2625"/>
                    </a:cubicBezTo>
                    <a:cubicBezTo>
                      <a:pt x="2098" y="2874"/>
                      <a:pt x="2098" y="2874"/>
                      <a:pt x="2098" y="2874"/>
                    </a:cubicBezTo>
                    <a:lnTo>
                      <a:pt x="354" y="2874"/>
                    </a:lnTo>
                    <a:close/>
                    <a:moveTo>
                      <a:pt x="2309" y="2175"/>
                    </a:moveTo>
                    <a:cubicBezTo>
                      <a:pt x="2309" y="2349"/>
                      <a:pt x="2167" y="2491"/>
                      <a:pt x="1992" y="2491"/>
                    </a:cubicBezTo>
                    <a:cubicBezTo>
                      <a:pt x="459" y="2491"/>
                      <a:pt x="459" y="2491"/>
                      <a:pt x="459" y="2491"/>
                    </a:cubicBezTo>
                    <a:cubicBezTo>
                      <a:pt x="285" y="2491"/>
                      <a:pt x="143" y="2349"/>
                      <a:pt x="143" y="2175"/>
                    </a:cubicBezTo>
                    <a:cubicBezTo>
                      <a:pt x="143" y="450"/>
                      <a:pt x="143" y="450"/>
                      <a:pt x="143" y="450"/>
                    </a:cubicBezTo>
                    <a:cubicBezTo>
                      <a:pt x="143" y="276"/>
                      <a:pt x="285" y="134"/>
                      <a:pt x="459" y="134"/>
                    </a:cubicBezTo>
                    <a:cubicBezTo>
                      <a:pt x="997" y="134"/>
                      <a:pt x="997" y="134"/>
                      <a:pt x="997" y="134"/>
                    </a:cubicBezTo>
                    <a:cubicBezTo>
                      <a:pt x="977" y="171"/>
                      <a:pt x="965" y="213"/>
                      <a:pt x="965" y="259"/>
                    </a:cubicBezTo>
                    <a:cubicBezTo>
                      <a:pt x="965" y="401"/>
                      <a:pt x="1081" y="517"/>
                      <a:pt x="1224" y="517"/>
                    </a:cubicBezTo>
                    <a:cubicBezTo>
                      <a:pt x="1366" y="517"/>
                      <a:pt x="1482" y="401"/>
                      <a:pt x="1482" y="259"/>
                    </a:cubicBezTo>
                    <a:cubicBezTo>
                      <a:pt x="1482" y="213"/>
                      <a:pt x="1471" y="171"/>
                      <a:pt x="1450" y="134"/>
                    </a:cubicBezTo>
                    <a:cubicBezTo>
                      <a:pt x="1992" y="134"/>
                      <a:pt x="1992" y="134"/>
                      <a:pt x="1992" y="134"/>
                    </a:cubicBezTo>
                    <a:cubicBezTo>
                      <a:pt x="2167" y="134"/>
                      <a:pt x="2309" y="276"/>
                      <a:pt x="2309" y="450"/>
                    </a:cubicBezTo>
                    <a:lnTo>
                      <a:pt x="2309" y="21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xmlns="" id="{87EDD4F3-074E-471A-87DD-2F0609D451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4863" y="3622675"/>
                <a:ext cx="1084263" cy="1085850"/>
              </a:xfrm>
              <a:custGeom>
                <a:avLst/>
                <a:gdLst>
                  <a:gd name="T0" fmla="*/ 259 w 517"/>
                  <a:gd name="T1" fmla="*/ 0 h 517"/>
                  <a:gd name="T2" fmla="*/ 0 w 517"/>
                  <a:gd name="T3" fmla="*/ 258 h 517"/>
                  <a:gd name="T4" fmla="*/ 259 w 517"/>
                  <a:gd name="T5" fmla="*/ 517 h 517"/>
                  <a:gd name="T6" fmla="*/ 517 w 517"/>
                  <a:gd name="T7" fmla="*/ 258 h 517"/>
                  <a:gd name="T8" fmla="*/ 259 w 517"/>
                  <a:gd name="T9" fmla="*/ 0 h 517"/>
                  <a:gd name="T10" fmla="*/ 259 w 517"/>
                  <a:gd name="T11" fmla="*/ 383 h 517"/>
                  <a:gd name="T12" fmla="*/ 134 w 517"/>
                  <a:gd name="T13" fmla="*/ 258 h 517"/>
                  <a:gd name="T14" fmla="*/ 259 w 517"/>
                  <a:gd name="T15" fmla="*/ 134 h 517"/>
                  <a:gd name="T16" fmla="*/ 384 w 517"/>
                  <a:gd name="T17" fmla="*/ 258 h 517"/>
                  <a:gd name="T18" fmla="*/ 259 w 517"/>
                  <a:gd name="T19" fmla="*/ 383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7" h="517">
                    <a:moveTo>
                      <a:pt x="259" y="0"/>
                    </a:moveTo>
                    <a:cubicBezTo>
                      <a:pt x="116" y="0"/>
                      <a:pt x="0" y="116"/>
                      <a:pt x="0" y="258"/>
                    </a:cubicBezTo>
                    <a:cubicBezTo>
                      <a:pt x="0" y="401"/>
                      <a:pt x="116" y="517"/>
                      <a:pt x="259" y="517"/>
                    </a:cubicBezTo>
                    <a:cubicBezTo>
                      <a:pt x="401" y="517"/>
                      <a:pt x="517" y="401"/>
                      <a:pt x="517" y="258"/>
                    </a:cubicBezTo>
                    <a:cubicBezTo>
                      <a:pt x="517" y="116"/>
                      <a:pt x="401" y="0"/>
                      <a:pt x="259" y="0"/>
                    </a:cubicBezTo>
                    <a:close/>
                    <a:moveTo>
                      <a:pt x="259" y="383"/>
                    </a:moveTo>
                    <a:cubicBezTo>
                      <a:pt x="190" y="383"/>
                      <a:pt x="134" y="327"/>
                      <a:pt x="134" y="258"/>
                    </a:cubicBezTo>
                    <a:cubicBezTo>
                      <a:pt x="134" y="190"/>
                      <a:pt x="190" y="134"/>
                      <a:pt x="259" y="134"/>
                    </a:cubicBezTo>
                    <a:cubicBezTo>
                      <a:pt x="328" y="134"/>
                      <a:pt x="384" y="190"/>
                      <a:pt x="384" y="258"/>
                    </a:cubicBezTo>
                    <a:cubicBezTo>
                      <a:pt x="384" y="327"/>
                      <a:pt x="328" y="383"/>
                      <a:pt x="259" y="3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60" name="Freeform 7">
                <a:extLst>
                  <a:ext uri="{FF2B5EF4-FFF2-40B4-BE49-F238E27FC236}">
                    <a16:creationId xmlns:a16="http://schemas.microsoft.com/office/drawing/2014/main" xmlns="" id="{4786D511-CA09-4B92-AE4B-8C987D747E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19450" y="3622675"/>
                <a:ext cx="1084263" cy="1085850"/>
              </a:xfrm>
              <a:custGeom>
                <a:avLst/>
                <a:gdLst>
                  <a:gd name="T0" fmla="*/ 259 w 517"/>
                  <a:gd name="T1" fmla="*/ 0 h 517"/>
                  <a:gd name="T2" fmla="*/ 0 w 517"/>
                  <a:gd name="T3" fmla="*/ 258 h 517"/>
                  <a:gd name="T4" fmla="*/ 259 w 517"/>
                  <a:gd name="T5" fmla="*/ 517 h 517"/>
                  <a:gd name="T6" fmla="*/ 517 w 517"/>
                  <a:gd name="T7" fmla="*/ 258 h 517"/>
                  <a:gd name="T8" fmla="*/ 259 w 517"/>
                  <a:gd name="T9" fmla="*/ 0 h 517"/>
                  <a:gd name="T10" fmla="*/ 259 w 517"/>
                  <a:gd name="T11" fmla="*/ 383 h 517"/>
                  <a:gd name="T12" fmla="*/ 134 w 517"/>
                  <a:gd name="T13" fmla="*/ 258 h 517"/>
                  <a:gd name="T14" fmla="*/ 259 w 517"/>
                  <a:gd name="T15" fmla="*/ 134 h 517"/>
                  <a:gd name="T16" fmla="*/ 383 w 517"/>
                  <a:gd name="T17" fmla="*/ 258 h 517"/>
                  <a:gd name="T18" fmla="*/ 259 w 517"/>
                  <a:gd name="T19" fmla="*/ 383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7" h="517">
                    <a:moveTo>
                      <a:pt x="259" y="0"/>
                    </a:moveTo>
                    <a:cubicBezTo>
                      <a:pt x="116" y="0"/>
                      <a:pt x="0" y="116"/>
                      <a:pt x="0" y="258"/>
                    </a:cubicBezTo>
                    <a:cubicBezTo>
                      <a:pt x="0" y="401"/>
                      <a:pt x="116" y="517"/>
                      <a:pt x="259" y="517"/>
                    </a:cubicBezTo>
                    <a:cubicBezTo>
                      <a:pt x="401" y="517"/>
                      <a:pt x="517" y="401"/>
                      <a:pt x="517" y="258"/>
                    </a:cubicBezTo>
                    <a:cubicBezTo>
                      <a:pt x="517" y="116"/>
                      <a:pt x="401" y="0"/>
                      <a:pt x="259" y="0"/>
                    </a:cubicBezTo>
                    <a:close/>
                    <a:moveTo>
                      <a:pt x="259" y="383"/>
                    </a:moveTo>
                    <a:cubicBezTo>
                      <a:pt x="190" y="383"/>
                      <a:pt x="134" y="327"/>
                      <a:pt x="134" y="258"/>
                    </a:cubicBezTo>
                    <a:cubicBezTo>
                      <a:pt x="134" y="190"/>
                      <a:pt x="190" y="134"/>
                      <a:pt x="259" y="134"/>
                    </a:cubicBezTo>
                    <a:cubicBezTo>
                      <a:pt x="327" y="134"/>
                      <a:pt x="383" y="190"/>
                      <a:pt x="383" y="258"/>
                    </a:cubicBezTo>
                    <a:cubicBezTo>
                      <a:pt x="383" y="327"/>
                      <a:pt x="327" y="383"/>
                      <a:pt x="259" y="3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61" name="Freeform 8">
                <a:extLst>
                  <a:ext uri="{FF2B5EF4-FFF2-40B4-BE49-F238E27FC236}">
                    <a16:creationId xmlns:a16="http://schemas.microsoft.com/office/drawing/2014/main" xmlns="" id="{14304616-7232-4476-9342-A32DFD4E7D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4863" y="1611313"/>
                <a:ext cx="3498850" cy="1485900"/>
              </a:xfrm>
              <a:custGeom>
                <a:avLst/>
                <a:gdLst>
                  <a:gd name="T0" fmla="*/ 1600 w 1667"/>
                  <a:gd name="T1" fmla="*/ 0 h 708"/>
                  <a:gd name="T2" fmla="*/ 834 w 1667"/>
                  <a:gd name="T3" fmla="*/ 0 h 708"/>
                  <a:gd name="T4" fmla="*/ 834 w 1667"/>
                  <a:gd name="T5" fmla="*/ 0 h 708"/>
                  <a:gd name="T6" fmla="*/ 834 w 1667"/>
                  <a:gd name="T7" fmla="*/ 0 h 708"/>
                  <a:gd name="T8" fmla="*/ 67 w 1667"/>
                  <a:gd name="T9" fmla="*/ 0 h 708"/>
                  <a:gd name="T10" fmla="*/ 0 w 1667"/>
                  <a:gd name="T11" fmla="*/ 66 h 708"/>
                  <a:gd name="T12" fmla="*/ 0 w 1667"/>
                  <a:gd name="T13" fmla="*/ 641 h 708"/>
                  <a:gd name="T14" fmla="*/ 67 w 1667"/>
                  <a:gd name="T15" fmla="*/ 708 h 708"/>
                  <a:gd name="T16" fmla="*/ 1600 w 1667"/>
                  <a:gd name="T17" fmla="*/ 708 h 708"/>
                  <a:gd name="T18" fmla="*/ 1667 w 1667"/>
                  <a:gd name="T19" fmla="*/ 641 h 708"/>
                  <a:gd name="T20" fmla="*/ 1667 w 1667"/>
                  <a:gd name="T21" fmla="*/ 66 h 708"/>
                  <a:gd name="T22" fmla="*/ 1600 w 1667"/>
                  <a:gd name="T23" fmla="*/ 0 h 708"/>
                  <a:gd name="T24" fmla="*/ 134 w 1667"/>
                  <a:gd name="T25" fmla="*/ 133 h 708"/>
                  <a:gd name="T26" fmla="*/ 767 w 1667"/>
                  <a:gd name="T27" fmla="*/ 133 h 708"/>
                  <a:gd name="T28" fmla="*/ 767 w 1667"/>
                  <a:gd name="T29" fmla="*/ 574 h 708"/>
                  <a:gd name="T30" fmla="*/ 134 w 1667"/>
                  <a:gd name="T31" fmla="*/ 574 h 708"/>
                  <a:gd name="T32" fmla="*/ 134 w 1667"/>
                  <a:gd name="T33" fmla="*/ 133 h 708"/>
                  <a:gd name="T34" fmla="*/ 1533 w 1667"/>
                  <a:gd name="T35" fmla="*/ 574 h 708"/>
                  <a:gd name="T36" fmla="*/ 901 w 1667"/>
                  <a:gd name="T37" fmla="*/ 574 h 708"/>
                  <a:gd name="T38" fmla="*/ 901 w 1667"/>
                  <a:gd name="T39" fmla="*/ 133 h 708"/>
                  <a:gd name="T40" fmla="*/ 1533 w 1667"/>
                  <a:gd name="T41" fmla="*/ 133 h 708"/>
                  <a:gd name="T42" fmla="*/ 1533 w 1667"/>
                  <a:gd name="T43" fmla="*/ 574 h 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67" h="708">
                    <a:moveTo>
                      <a:pt x="1600" y="0"/>
                    </a:moveTo>
                    <a:cubicBezTo>
                      <a:pt x="834" y="0"/>
                      <a:pt x="834" y="0"/>
                      <a:pt x="834" y="0"/>
                    </a:cubicBezTo>
                    <a:cubicBezTo>
                      <a:pt x="834" y="0"/>
                      <a:pt x="834" y="0"/>
                      <a:pt x="834" y="0"/>
                    </a:cubicBezTo>
                    <a:cubicBezTo>
                      <a:pt x="834" y="0"/>
                      <a:pt x="834" y="0"/>
                      <a:pt x="834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641"/>
                      <a:pt x="0" y="641"/>
                      <a:pt x="0" y="641"/>
                    </a:cubicBezTo>
                    <a:cubicBezTo>
                      <a:pt x="0" y="678"/>
                      <a:pt x="30" y="708"/>
                      <a:pt x="67" y="708"/>
                    </a:cubicBezTo>
                    <a:cubicBezTo>
                      <a:pt x="1600" y="708"/>
                      <a:pt x="1600" y="708"/>
                      <a:pt x="1600" y="708"/>
                    </a:cubicBezTo>
                    <a:cubicBezTo>
                      <a:pt x="1637" y="708"/>
                      <a:pt x="1667" y="678"/>
                      <a:pt x="1667" y="641"/>
                    </a:cubicBezTo>
                    <a:cubicBezTo>
                      <a:pt x="1667" y="66"/>
                      <a:pt x="1667" y="66"/>
                      <a:pt x="1667" y="66"/>
                    </a:cubicBezTo>
                    <a:cubicBezTo>
                      <a:pt x="1667" y="30"/>
                      <a:pt x="1637" y="0"/>
                      <a:pt x="1600" y="0"/>
                    </a:cubicBezTo>
                    <a:close/>
                    <a:moveTo>
                      <a:pt x="134" y="133"/>
                    </a:moveTo>
                    <a:cubicBezTo>
                      <a:pt x="767" y="133"/>
                      <a:pt x="767" y="133"/>
                      <a:pt x="767" y="133"/>
                    </a:cubicBezTo>
                    <a:cubicBezTo>
                      <a:pt x="767" y="574"/>
                      <a:pt x="767" y="574"/>
                      <a:pt x="767" y="574"/>
                    </a:cubicBezTo>
                    <a:cubicBezTo>
                      <a:pt x="134" y="574"/>
                      <a:pt x="134" y="574"/>
                      <a:pt x="134" y="574"/>
                    </a:cubicBezTo>
                    <a:lnTo>
                      <a:pt x="134" y="133"/>
                    </a:lnTo>
                    <a:close/>
                    <a:moveTo>
                      <a:pt x="1533" y="574"/>
                    </a:moveTo>
                    <a:cubicBezTo>
                      <a:pt x="901" y="574"/>
                      <a:pt x="901" y="574"/>
                      <a:pt x="901" y="574"/>
                    </a:cubicBezTo>
                    <a:cubicBezTo>
                      <a:pt x="901" y="133"/>
                      <a:pt x="901" y="133"/>
                      <a:pt x="901" y="133"/>
                    </a:cubicBezTo>
                    <a:cubicBezTo>
                      <a:pt x="1533" y="133"/>
                      <a:pt x="1533" y="133"/>
                      <a:pt x="1533" y="133"/>
                    </a:cubicBezTo>
                    <a:lnTo>
                      <a:pt x="1533" y="5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73" name="CustomIcon">
              <a:extLst>
                <a:ext uri="{FF2B5EF4-FFF2-40B4-BE49-F238E27FC236}">
                  <a16:creationId xmlns:a16="http://schemas.microsoft.com/office/drawing/2014/main" xmlns="" id="{812C8B40-6216-4AAD-B7CD-54ADF9D209EC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249528" y="2708191"/>
              <a:ext cx="955157" cy="967416"/>
              <a:chOff x="0" y="0"/>
              <a:chExt cx="1360488" cy="1377950"/>
            </a:xfrm>
            <a:solidFill>
              <a:schemeClr val="bg2"/>
            </a:solidFill>
          </p:grpSpPr>
          <p:sp>
            <p:nvSpPr>
              <p:cNvPr id="67" name="Freeform 12">
                <a:extLst>
                  <a:ext uri="{FF2B5EF4-FFF2-40B4-BE49-F238E27FC236}">
                    <a16:creationId xmlns:a16="http://schemas.microsoft.com/office/drawing/2014/main" xmlns="" id="{EB0272CB-FB49-453A-9B5A-55DAE6576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8" y="809625"/>
                <a:ext cx="515938" cy="57150"/>
              </a:xfrm>
              <a:custGeom>
                <a:avLst/>
                <a:gdLst>
                  <a:gd name="T0" fmla="*/ 0 w 161"/>
                  <a:gd name="T1" fmla="*/ 9 h 18"/>
                  <a:gd name="T2" fmla="*/ 9 w 161"/>
                  <a:gd name="T3" fmla="*/ 18 h 18"/>
                  <a:gd name="T4" fmla="*/ 151 w 161"/>
                  <a:gd name="T5" fmla="*/ 18 h 18"/>
                  <a:gd name="T6" fmla="*/ 161 w 161"/>
                  <a:gd name="T7" fmla="*/ 9 h 18"/>
                  <a:gd name="T8" fmla="*/ 151 w 161"/>
                  <a:gd name="T9" fmla="*/ 0 h 18"/>
                  <a:gd name="T10" fmla="*/ 9 w 161"/>
                  <a:gd name="T11" fmla="*/ 0 h 18"/>
                  <a:gd name="T12" fmla="*/ 0 w 161"/>
                  <a:gd name="T1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1" h="18">
                    <a:moveTo>
                      <a:pt x="0" y="9"/>
                    </a:moveTo>
                    <a:cubicBezTo>
                      <a:pt x="0" y="14"/>
                      <a:pt x="4" y="18"/>
                      <a:pt x="9" y="18"/>
                    </a:cubicBezTo>
                    <a:cubicBezTo>
                      <a:pt x="151" y="18"/>
                      <a:pt x="151" y="18"/>
                      <a:pt x="151" y="18"/>
                    </a:cubicBezTo>
                    <a:cubicBezTo>
                      <a:pt x="157" y="18"/>
                      <a:pt x="161" y="14"/>
                      <a:pt x="161" y="9"/>
                    </a:cubicBezTo>
                    <a:cubicBezTo>
                      <a:pt x="161" y="4"/>
                      <a:pt x="157" y="0"/>
                      <a:pt x="15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68" name="Freeform 13">
                <a:extLst>
                  <a:ext uri="{FF2B5EF4-FFF2-40B4-BE49-F238E27FC236}">
                    <a16:creationId xmlns:a16="http://schemas.microsoft.com/office/drawing/2014/main" xmlns="" id="{B23230BC-F5EF-46D6-A686-5F8D1955E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8" y="935038"/>
                <a:ext cx="515938" cy="57150"/>
              </a:xfrm>
              <a:custGeom>
                <a:avLst/>
                <a:gdLst>
                  <a:gd name="T0" fmla="*/ 151 w 161"/>
                  <a:gd name="T1" fmla="*/ 0 h 18"/>
                  <a:gd name="T2" fmla="*/ 9 w 161"/>
                  <a:gd name="T3" fmla="*/ 0 h 18"/>
                  <a:gd name="T4" fmla="*/ 0 w 161"/>
                  <a:gd name="T5" fmla="*/ 9 h 18"/>
                  <a:gd name="T6" fmla="*/ 9 w 161"/>
                  <a:gd name="T7" fmla="*/ 18 h 18"/>
                  <a:gd name="T8" fmla="*/ 151 w 161"/>
                  <a:gd name="T9" fmla="*/ 18 h 18"/>
                  <a:gd name="T10" fmla="*/ 161 w 161"/>
                  <a:gd name="T11" fmla="*/ 9 h 18"/>
                  <a:gd name="T12" fmla="*/ 151 w 161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1" h="18">
                    <a:moveTo>
                      <a:pt x="15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151" y="18"/>
                      <a:pt x="151" y="18"/>
                      <a:pt x="151" y="18"/>
                    </a:cubicBezTo>
                    <a:cubicBezTo>
                      <a:pt x="157" y="18"/>
                      <a:pt x="161" y="14"/>
                      <a:pt x="161" y="9"/>
                    </a:cubicBezTo>
                    <a:cubicBezTo>
                      <a:pt x="161" y="4"/>
                      <a:pt x="157" y="0"/>
                      <a:pt x="1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69" name="Oval 14">
                <a:extLst>
                  <a:ext uri="{FF2B5EF4-FFF2-40B4-BE49-F238E27FC236}">
                    <a16:creationId xmlns:a16="http://schemas.microsoft.com/office/drawing/2014/main" xmlns="" id="{20FB7141-7AA5-4F74-A267-34F2C37C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8438" y="803275"/>
                <a:ext cx="134938" cy="1381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70" name="Oval 15">
                <a:extLst>
                  <a:ext uri="{FF2B5EF4-FFF2-40B4-BE49-F238E27FC236}">
                    <a16:creationId xmlns:a16="http://schemas.microsoft.com/office/drawing/2014/main" xmlns="" id="{5EFAFAD3-6D76-4DA9-85C4-CD8795133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3938" y="803275"/>
                <a:ext cx="134938" cy="1381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71" name="Freeform 16">
                <a:extLst>
                  <a:ext uri="{FF2B5EF4-FFF2-40B4-BE49-F238E27FC236}">
                    <a16:creationId xmlns:a16="http://schemas.microsoft.com/office/drawing/2014/main" xmlns="" id="{0587AEEF-0147-4876-BAA7-C806ABB40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63" y="100013"/>
                <a:ext cx="328613" cy="60325"/>
              </a:xfrm>
              <a:custGeom>
                <a:avLst/>
                <a:gdLst>
                  <a:gd name="T0" fmla="*/ 93 w 102"/>
                  <a:gd name="T1" fmla="*/ 0 h 19"/>
                  <a:gd name="T2" fmla="*/ 10 w 102"/>
                  <a:gd name="T3" fmla="*/ 0 h 19"/>
                  <a:gd name="T4" fmla="*/ 0 w 102"/>
                  <a:gd name="T5" fmla="*/ 9 h 19"/>
                  <a:gd name="T6" fmla="*/ 10 w 102"/>
                  <a:gd name="T7" fmla="*/ 19 h 19"/>
                  <a:gd name="T8" fmla="*/ 93 w 102"/>
                  <a:gd name="T9" fmla="*/ 19 h 19"/>
                  <a:gd name="T10" fmla="*/ 102 w 102"/>
                  <a:gd name="T11" fmla="*/ 9 h 19"/>
                  <a:gd name="T12" fmla="*/ 93 w 102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" h="19">
                    <a:moveTo>
                      <a:pt x="93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9"/>
                    </a:cubicBezTo>
                    <a:cubicBezTo>
                      <a:pt x="0" y="14"/>
                      <a:pt x="5" y="19"/>
                      <a:pt x="10" y="19"/>
                    </a:cubicBezTo>
                    <a:cubicBezTo>
                      <a:pt x="93" y="19"/>
                      <a:pt x="93" y="19"/>
                      <a:pt x="93" y="19"/>
                    </a:cubicBezTo>
                    <a:cubicBezTo>
                      <a:pt x="98" y="19"/>
                      <a:pt x="102" y="14"/>
                      <a:pt x="102" y="9"/>
                    </a:cubicBezTo>
                    <a:cubicBezTo>
                      <a:pt x="102" y="5"/>
                      <a:pt x="98" y="0"/>
                      <a:pt x="9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72" name="Freeform 17">
                <a:extLst>
                  <a:ext uri="{FF2B5EF4-FFF2-40B4-BE49-F238E27FC236}">
                    <a16:creationId xmlns:a16="http://schemas.microsoft.com/office/drawing/2014/main" xmlns="" id="{3E8601CE-DA8A-4EE8-BE55-A96296CCC2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0"/>
                <a:ext cx="1360488" cy="1377950"/>
              </a:xfrm>
              <a:custGeom>
                <a:avLst/>
                <a:gdLst>
                  <a:gd name="T0" fmla="*/ 424 w 424"/>
                  <a:gd name="T1" fmla="*/ 130 h 429"/>
                  <a:gd name="T2" fmla="*/ 413 w 424"/>
                  <a:gd name="T3" fmla="*/ 89 h 429"/>
                  <a:gd name="T4" fmla="*/ 402 w 424"/>
                  <a:gd name="T5" fmla="*/ 62 h 429"/>
                  <a:gd name="T6" fmla="*/ 370 w 424"/>
                  <a:gd name="T7" fmla="*/ 47 h 429"/>
                  <a:gd name="T8" fmla="*/ 79 w 424"/>
                  <a:gd name="T9" fmla="*/ 21 h 429"/>
                  <a:gd name="T10" fmla="*/ 53 w 424"/>
                  <a:gd name="T11" fmla="*/ 49 h 429"/>
                  <a:gd name="T12" fmla="*/ 21 w 424"/>
                  <a:gd name="T13" fmla="*/ 62 h 429"/>
                  <a:gd name="T14" fmla="*/ 12 w 424"/>
                  <a:gd name="T15" fmla="*/ 89 h 429"/>
                  <a:gd name="T16" fmla="*/ 0 w 424"/>
                  <a:gd name="T17" fmla="*/ 130 h 429"/>
                  <a:gd name="T18" fmla="*/ 41 w 424"/>
                  <a:gd name="T19" fmla="*/ 89 h 429"/>
                  <a:gd name="T20" fmla="*/ 29 w 424"/>
                  <a:gd name="T21" fmla="*/ 87 h 429"/>
                  <a:gd name="T22" fmla="*/ 53 w 424"/>
                  <a:gd name="T23" fmla="*/ 68 h 429"/>
                  <a:gd name="T24" fmla="*/ 9 w 424"/>
                  <a:gd name="T25" fmla="*/ 190 h 429"/>
                  <a:gd name="T26" fmla="*/ 2 w 424"/>
                  <a:gd name="T27" fmla="*/ 370 h 429"/>
                  <a:gd name="T28" fmla="*/ 37 w 424"/>
                  <a:gd name="T29" fmla="*/ 379 h 429"/>
                  <a:gd name="T30" fmla="*/ 66 w 424"/>
                  <a:gd name="T31" fmla="*/ 429 h 429"/>
                  <a:gd name="T32" fmla="*/ 111 w 424"/>
                  <a:gd name="T33" fmla="*/ 402 h 429"/>
                  <a:gd name="T34" fmla="*/ 312 w 424"/>
                  <a:gd name="T35" fmla="*/ 379 h 429"/>
                  <a:gd name="T36" fmla="*/ 341 w 424"/>
                  <a:gd name="T37" fmla="*/ 429 h 429"/>
                  <a:gd name="T38" fmla="*/ 386 w 424"/>
                  <a:gd name="T39" fmla="*/ 402 h 429"/>
                  <a:gd name="T40" fmla="*/ 409 w 424"/>
                  <a:gd name="T41" fmla="*/ 379 h 429"/>
                  <a:gd name="T42" fmla="*/ 418 w 424"/>
                  <a:gd name="T43" fmla="*/ 199 h 429"/>
                  <a:gd name="T44" fmla="*/ 370 w 424"/>
                  <a:gd name="T45" fmla="*/ 182 h 429"/>
                  <a:gd name="T46" fmla="*/ 390 w 424"/>
                  <a:gd name="T47" fmla="*/ 75 h 429"/>
                  <a:gd name="T48" fmla="*/ 395 w 424"/>
                  <a:gd name="T49" fmla="*/ 89 h 429"/>
                  <a:gd name="T50" fmla="*/ 383 w 424"/>
                  <a:gd name="T51" fmla="*/ 130 h 429"/>
                  <a:gd name="T52" fmla="*/ 93 w 424"/>
                  <a:gd name="T53" fmla="*/ 402 h 429"/>
                  <a:gd name="T54" fmla="*/ 66 w 424"/>
                  <a:gd name="T55" fmla="*/ 410 h 429"/>
                  <a:gd name="T56" fmla="*/ 55 w 424"/>
                  <a:gd name="T57" fmla="*/ 379 h 429"/>
                  <a:gd name="T58" fmla="*/ 93 w 424"/>
                  <a:gd name="T59" fmla="*/ 402 h 429"/>
                  <a:gd name="T60" fmla="*/ 367 w 424"/>
                  <a:gd name="T61" fmla="*/ 402 h 429"/>
                  <a:gd name="T62" fmla="*/ 341 w 424"/>
                  <a:gd name="T63" fmla="*/ 410 h 429"/>
                  <a:gd name="T64" fmla="*/ 330 w 424"/>
                  <a:gd name="T65" fmla="*/ 379 h 429"/>
                  <a:gd name="T66" fmla="*/ 367 w 424"/>
                  <a:gd name="T67" fmla="*/ 402 h 429"/>
                  <a:gd name="T68" fmla="*/ 400 w 424"/>
                  <a:gd name="T69" fmla="*/ 360 h 429"/>
                  <a:gd name="T70" fmla="*/ 20 w 424"/>
                  <a:gd name="T71" fmla="*/ 206 h 429"/>
                  <a:gd name="T72" fmla="*/ 400 w 424"/>
                  <a:gd name="T73" fmla="*/ 360 h 429"/>
                  <a:gd name="T74" fmla="*/ 310 w 424"/>
                  <a:gd name="T75" fmla="*/ 101 h 429"/>
                  <a:gd name="T76" fmla="*/ 220 w 424"/>
                  <a:gd name="T77" fmla="*/ 169 h 429"/>
                  <a:gd name="T78" fmla="*/ 310 w 424"/>
                  <a:gd name="T79" fmla="*/ 101 h 429"/>
                  <a:gd name="T80" fmla="*/ 113 w 424"/>
                  <a:gd name="T81" fmla="*/ 173 h 429"/>
                  <a:gd name="T82" fmla="*/ 201 w 424"/>
                  <a:gd name="T83" fmla="*/ 84 h 429"/>
                  <a:gd name="T84" fmla="*/ 201 w 424"/>
                  <a:gd name="T85" fmla="*/ 168 h 429"/>
                  <a:gd name="T86" fmla="*/ 328 w 424"/>
                  <a:gd name="T87" fmla="*/ 99 h 429"/>
                  <a:gd name="T88" fmla="*/ 210 w 424"/>
                  <a:gd name="T89" fmla="*/ 66 h 429"/>
                  <a:gd name="T90" fmla="*/ 94 w 424"/>
                  <a:gd name="T91" fmla="*/ 99 h 429"/>
                  <a:gd name="T92" fmla="*/ 71 w 424"/>
                  <a:gd name="T93" fmla="*/ 178 h 429"/>
                  <a:gd name="T94" fmla="*/ 210 w 424"/>
                  <a:gd name="T95" fmla="*/ 18 h 429"/>
                  <a:gd name="T96" fmla="*/ 352 w 424"/>
                  <a:gd name="T97" fmla="*/ 179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4" h="429">
                    <a:moveTo>
                      <a:pt x="383" y="130"/>
                    </a:moveTo>
                    <a:cubicBezTo>
                      <a:pt x="424" y="130"/>
                      <a:pt x="424" y="130"/>
                      <a:pt x="424" y="130"/>
                    </a:cubicBezTo>
                    <a:cubicBezTo>
                      <a:pt x="424" y="89"/>
                      <a:pt x="424" y="89"/>
                      <a:pt x="424" y="89"/>
                    </a:cubicBezTo>
                    <a:cubicBezTo>
                      <a:pt x="413" y="89"/>
                      <a:pt x="413" y="89"/>
                      <a:pt x="413" y="89"/>
                    </a:cubicBezTo>
                    <a:cubicBezTo>
                      <a:pt x="413" y="88"/>
                      <a:pt x="413" y="88"/>
                      <a:pt x="413" y="87"/>
                    </a:cubicBezTo>
                    <a:cubicBezTo>
                      <a:pt x="413" y="77"/>
                      <a:pt x="409" y="68"/>
                      <a:pt x="402" y="62"/>
                    </a:cubicBezTo>
                    <a:cubicBezTo>
                      <a:pt x="393" y="53"/>
                      <a:pt x="379" y="50"/>
                      <a:pt x="370" y="49"/>
                    </a:cubicBezTo>
                    <a:cubicBezTo>
                      <a:pt x="370" y="49"/>
                      <a:pt x="370" y="48"/>
                      <a:pt x="370" y="47"/>
                    </a:cubicBezTo>
                    <a:cubicBezTo>
                      <a:pt x="368" y="42"/>
                      <a:pt x="354" y="0"/>
                      <a:pt x="210" y="0"/>
                    </a:cubicBezTo>
                    <a:cubicBezTo>
                      <a:pt x="150" y="0"/>
                      <a:pt x="106" y="7"/>
                      <a:pt x="79" y="21"/>
                    </a:cubicBezTo>
                    <a:cubicBezTo>
                      <a:pt x="56" y="33"/>
                      <a:pt x="53" y="46"/>
                      <a:pt x="53" y="48"/>
                    </a:cubicBezTo>
                    <a:cubicBezTo>
                      <a:pt x="53" y="48"/>
                      <a:pt x="53" y="49"/>
                      <a:pt x="53" y="49"/>
                    </a:cubicBezTo>
                    <a:cubicBezTo>
                      <a:pt x="53" y="50"/>
                      <a:pt x="53" y="50"/>
                      <a:pt x="53" y="50"/>
                    </a:cubicBezTo>
                    <a:cubicBezTo>
                      <a:pt x="43" y="50"/>
                      <a:pt x="30" y="53"/>
                      <a:pt x="21" y="62"/>
                    </a:cubicBezTo>
                    <a:cubicBezTo>
                      <a:pt x="14" y="68"/>
                      <a:pt x="11" y="77"/>
                      <a:pt x="11" y="87"/>
                    </a:cubicBezTo>
                    <a:cubicBezTo>
                      <a:pt x="11" y="88"/>
                      <a:pt x="11" y="88"/>
                      <a:pt x="12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88"/>
                      <a:pt x="29" y="88"/>
                      <a:pt x="29" y="87"/>
                    </a:cubicBezTo>
                    <a:cubicBezTo>
                      <a:pt x="29" y="82"/>
                      <a:pt x="31" y="78"/>
                      <a:pt x="34" y="75"/>
                    </a:cubicBezTo>
                    <a:cubicBezTo>
                      <a:pt x="39" y="71"/>
                      <a:pt x="46" y="69"/>
                      <a:pt x="53" y="68"/>
                    </a:cubicBezTo>
                    <a:cubicBezTo>
                      <a:pt x="53" y="181"/>
                      <a:pt x="53" y="181"/>
                      <a:pt x="53" y="181"/>
                    </a:cubicBezTo>
                    <a:cubicBezTo>
                      <a:pt x="38" y="183"/>
                      <a:pt x="23" y="187"/>
                      <a:pt x="9" y="190"/>
                    </a:cubicBezTo>
                    <a:cubicBezTo>
                      <a:pt x="5" y="191"/>
                      <a:pt x="2" y="195"/>
                      <a:pt x="2" y="199"/>
                    </a:cubicBezTo>
                    <a:cubicBezTo>
                      <a:pt x="2" y="370"/>
                      <a:pt x="2" y="370"/>
                      <a:pt x="2" y="370"/>
                    </a:cubicBezTo>
                    <a:cubicBezTo>
                      <a:pt x="2" y="375"/>
                      <a:pt x="6" y="379"/>
                      <a:pt x="11" y="379"/>
                    </a:cubicBezTo>
                    <a:cubicBezTo>
                      <a:pt x="37" y="379"/>
                      <a:pt x="37" y="379"/>
                      <a:pt x="37" y="379"/>
                    </a:cubicBezTo>
                    <a:cubicBezTo>
                      <a:pt x="37" y="402"/>
                      <a:pt x="37" y="402"/>
                      <a:pt x="37" y="402"/>
                    </a:cubicBezTo>
                    <a:cubicBezTo>
                      <a:pt x="37" y="417"/>
                      <a:pt x="50" y="429"/>
                      <a:pt x="66" y="429"/>
                    </a:cubicBezTo>
                    <a:cubicBezTo>
                      <a:pt x="81" y="429"/>
                      <a:pt x="81" y="429"/>
                      <a:pt x="81" y="429"/>
                    </a:cubicBezTo>
                    <a:cubicBezTo>
                      <a:pt x="97" y="429"/>
                      <a:pt x="111" y="417"/>
                      <a:pt x="111" y="402"/>
                    </a:cubicBezTo>
                    <a:cubicBezTo>
                      <a:pt x="111" y="379"/>
                      <a:pt x="111" y="379"/>
                      <a:pt x="111" y="379"/>
                    </a:cubicBezTo>
                    <a:cubicBezTo>
                      <a:pt x="312" y="379"/>
                      <a:pt x="312" y="379"/>
                      <a:pt x="312" y="379"/>
                    </a:cubicBezTo>
                    <a:cubicBezTo>
                      <a:pt x="312" y="402"/>
                      <a:pt x="312" y="402"/>
                      <a:pt x="312" y="402"/>
                    </a:cubicBezTo>
                    <a:cubicBezTo>
                      <a:pt x="312" y="417"/>
                      <a:pt x="325" y="429"/>
                      <a:pt x="341" y="429"/>
                    </a:cubicBezTo>
                    <a:cubicBezTo>
                      <a:pt x="356" y="429"/>
                      <a:pt x="356" y="429"/>
                      <a:pt x="356" y="429"/>
                    </a:cubicBezTo>
                    <a:cubicBezTo>
                      <a:pt x="372" y="429"/>
                      <a:pt x="386" y="417"/>
                      <a:pt x="386" y="402"/>
                    </a:cubicBezTo>
                    <a:cubicBezTo>
                      <a:pt x="386" y="379"/>
                      <a:pt x="386" y="379"/>
                      <a:pt x="386" y="379"/>
                    </a:cubicBezTo>
                    <a:cubicBezTo>
                      <a:pt x="409" y="379"/>
                      <a:pt x="409" y="379"/>
                      <a:pt x="409" y="379"/>
                    </a:cubicBezTo>
                    <a:cubicBezTo>
                      <a:pt x="414" y="379"/>
                      <a:pt x="418" y="375"/>
                      <a:pt x="418" y="370"/>
                    </a:cubicBezTo>
                    <a:cubicBezTo>
                      <a:pt x="418" y="199"/>
                      <a:pt x="418" y="199"/>
                      <a:pt x="418" y="199"/>
                    </a:cubicBezTo>
                    <a:cubicBezTo>
                      <a:pt x="418" y="195"/>
                      <a:pt x="415" y="191"/>
                      <a:pt x="411" y="190"/>
                    </a:cubicBezTo>
                    <a:cubicBezTo>
                      <a:pt x="410" y="190"/>
                      <a:pt x="395" y="186"/>
                      <a:pt x="370" y="182"/>
                    </a:cubicBezTo>
                    <a:cubicBezTo>
                      <a:pt x="370" y="68"/>
                      <a:pt x="370" y="68"/>
                      <a:pt x="370" y="68"/>
                    </a:cubicBezTo>
                    <a:cubicBezTo>
                      <a:pt x="376" y="69"/>
                      <a:pt x="385" y="70"/>
                      <a:pt x="390" y="75"/>
                    </a:cubicBezTo>
                    <a:cubicBezTo>
                      <a:pt x="393" y="78"/>
                      <a:pt x="394" y="82"/>
                      <a:pt x="394" y="87"/>
                    </a:cubicBezTo>
                    <a:cubicBezTo>
                      <a:pt x="394" y="88"/>
                      <a:pt x="395" y="88"/>
                      <a:pt x="395" y="89"/>
                    </a:cubicBezTo>
                    <a:cubicBezTo>
                      <a:pt x="383" y="89"/>
                      <a:pt x="383" y="89"/>
                      <a:pt x="383" y="89"/>
                    </a:cubicBezTo>
                    <a:cubicBezTo>
                      <a:pt x="383" y="130"/>
                      <a:pt x="383" y="130"/>
                      <a:pt x="383" y="130"/>
                    </a:cubicBezTo>
                    <a:cubicBezTo>
                      <a:pt x="383" y="130"/>
                      <a:pt x="383" y="130"/>
                      <a:pt x="383" y="130"/>
                    </a:cubicBezTo>
                    <a:close/>
                    <a:moveTo>
                      <a:pt x="93" y="402"/>
                    </a:moveTo>
                    <a:cubicBezTo>
                      <a:pt x="93" y="406"/>
                      <a:pt x="87" y="410"/>
                      <a:pt x="81" y="410"/>
                    </a:cubicBezTo>
                    <a:cubicBezTo>
                      <a:pt x="66" y="410"/>
                      <a:pt x="66" y="410"/>
                      <a:pt x="66" y="410"/>
                    </a:cubicBezTo>
                    <a:cubicBezTo>
                      <a:pt x="60" y="410"/>
                      <a:pt x="55" y="406"/>
                      <a:pt x="55" y="402"/>
                    </a:cubicBezTo>
                    <a:cubicBezTo>
                      <a:pt x="55" y="379"/>
                      <a:pt x="55" y="379"/>
                      <a:pt x="55" y="379"/>
                    </a:cubicBezTo>
                    <a:cubicBezTo>
                      <a:pt x="93" y="379"/>
                      <a:pt x="93" y="379"/>
                      <a:pt x="93" y="379"/>
                    </a:cubicBezTo>
                    <a:cubicBezTo>
                      <a:pt x="93" y="402"/>
                      <a:pt x="93" y="402"/>
                      <a:pt x="93" y="402"/>
                    </a:cubicBezTo>
                    <a:cubicBezTo>
                      <a:pt x="93" y="402"/>
                      <a:pt x="93" y="402"/>
                      <a:pt x="93" y="402"/>
                    </a:cubicBezTo>
                    <a:close/>
                    <a:moveTo>
                      <a:pt x="367" y="402"/>
                    </a:moveTo>
                    <a:cubicBezTo>
                      <a:pt x="367" y="406"/>
                      <a:pt x="362" y="410"/>
                      <a:pt x="356" y="410"/>
                    </a:cubicBezTo>
                    <a:cubicBezTo>
                      <a:pt x="341" y="410"/>
                      <a:pt x="341" y="410"/>
                      <a:pt x="341" y="410"/>
                    </a:cubicBezTo>
                    <a:cubicBezTo>
                      <a:pt x="335" y="410"/>
                      <a:pt x="330" y="406"/>
                      <a:pt x="330" y="402"/>
                    </a:cubicBezTo>
                    <a:cubicBezTo>
                      <a:pt x="330" y="379"/>
                      <a:pt x="330" y="379"/>
                      <a:pt x="330" y="379"/>
                    </a:cubicBezTo>
                    <a:cubicBezTo>
                      <a:pt x="367" y="379"/>
                      <a:pt x="367" y="379"/>
                      <a:pt x="367" y="379"/>
                    </a:cubicBezTo>
                    <a:cubicBezTo>
                      <a:pt x="367" y="402"/>
                      <a:pt x="367" y="402"/>
                      <a:pt x="367" y="402"/>
                    </a:cubicBezTo>
                    <a:cubicBezTo>
                      <a:pt x="367" y="402"/>
                      <a:pt x="367" y="402"/>
                      <a:pt x="367" y="402"/>
                    </a:cubicBezTo>
                    <a:close/>
                    <a:moveTo>
                      <a:pt x="400" y="360"/>
                    </a:moveTo>
                    <a:cubicBezTo>
                      <a:pt x="20" y="360"/>
                      <a:pt x="20" y="360"/>
                      <a:pt x="20" y="360"/>
                    </a:cubicBezTo>
                    <a:cubicBezTo>
                      <a:pt x="20" y="206"/>
                      <a:pt x="20" y="206"/>
                      <a:pt x="20" y="206"/>
                    </a:cubicBezTo>
                    <a:cubicBezTo>
                      <a:pt x="190" y="167"/>
                      <a:pt x="363" y="199"/>
                      <a:pt x="400" y="206"/>
                    </a:cubicBezTo>
                    <a:cubicBezTo>
                      <a:pt x="400" y="360"/>
                      <a:pt x="400" y="360"/>
                      <a:pt x="400" y="360"/>
                    </a:cubicBezTo>
                    <a:cubicBezTo>
                      <a:pt x="400" y="360"/>
                      <a:pt x="400" y="360"/>
                      <a:pt x="400" y="360"/>
                    </a:cubicBezTo>
                    <a:close/>
                    <a:moveTo>
                      <a:pt x="310" y="101"/>
                    </a:moveTo>
                    <a:cubicBezTo>
                      <a:pt x="310" y="174"/>
                      <a:pt x="310" y="174"/>
                      <a:pt x="310" y="174"/>
                    </a:cubicBezTo>
                    <a:cubicBezTo>
                      <a:pt x="283" y="172"/>
                      <a:pt x="253" y="169"/>
                      <a:pt x="220" y="16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88" y="85"/>
                      <a:pt x="306" y="98"/>
                      <a:pt x="310" y="101"/>
                    </a:cubicBezTo>
                    <a:close/>
                    <a:moveTo>
                      <a:pt x="201" y="168"/>
                    </a:moveTo>
                    <a:cubicBezTo>
                      <a:pt x="173" y="168"/>
                      <a:pt x="143" y="170"/>
                      <a:pt x="113" y="173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6" y="98"/>
                      <a:pt x="133" y="85"/>
                      <a:pt x="201" y="84"/>
                    </a:cubicBezTo>
                    <a:cubicBezTo>
                      <a:pt x="201" y="168"/>
                      <a:pt x="201" y="168"/>
                      <a:pt x="201" y="168"/>
                    </a:cubicBezTo>
                    <a:cubicBezTo>
                      <a:pt x="201" y="168"/>
                      <a:pt x="201" y="168"/>
                      <a:pt x="201" y="168"/>
                    </a:cubicBezTo>
                    <a:close/>
                    <a:moveTo>
                      <a:pt x="328" y="176"/>
                    </a:moveTo>
                    <a:cubicBezTo>
                      <a:pt x="328" y="99"/>
                      <a:pt x="328" y="99"/>
                      <a:pt x="328" y="99"/>
                    </a:cubicBezTo>
                    <a:cubicBezTo>
                      <a:pt x="328" y="98"/>
                      <a:pt x="328" y="97"/>
                      <a:pt x="328" y="96"/>
                    </a:cubicBezTo>
                    <a:cubicBezTo>
                      <a:pt x="326" y="89"/>
                      <a:pt x="311" y="66"/>
                      <a:pt x="210" y="66"/>
                    </a:cubicBezTo>
                    <a:cubicBezTo>
                      <a:pt x="109" y="66"/>
                      <a:pt x="96" y="89"/>
                      <a:pt x="94" y="96"/>
                    </a:cubicBezTo>
                    <a:cubicBezTo>
                      <a:pt x="94" y="97"/>
                      <a:pt x="94" y="98"/>
                      <a:pt x="94" y="99"/>
                    </a:cubicBezTo>
                    <a:cubicBezTo>
                      <a:pt x="94" y="175"/>
                      <a:pt x="94" y="175"/>
                      <a:pt x="94" y="175"/>
                    </a:cubicBezTo>
                    <a:cubicBezTo>
                      <a:pt x="87" y="176"/>
                      <a:pt x="79" y="177"/>
                      <a:pt x="71" y="178"/>
                    </a:cubicBezTo>
                    <a:cubicBezTo>
                      <a:pt x="71" y="51"/>
                      <a:pt x="71" y="51"/>
                      <a:pt x="71" y="51"/>
                    </a:cubicBezTo>
                    <a:cubicBezTo>
                      <a:pt x="73" y="47"/>
                      <a:pt x="92" y="18"/>
                      <a:pt x="210" y="18"/>
                    </a:cubicBezTo>
                    <a:cubicBezTo>
                      <a:pt x="327" y="18"/>
                      <a:pt x="349" y="46"/>
                      <a:pt x="352" y="51"/>
                    </a:cubicBezTo>
                    <a:cubicBezTo>
                      <a:pt x="352" y="179"/>
                      <a:pt x="352" y="179"/>
                      <a:pt x="352" y="179"/>
                    </a:cubicBezTo>
                    <a:cubicBezTo>
                      <a:pt x="345" y="178"/>
                      <a:pt x="336" y="178"/>
                      <a:pt x="328" y="1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32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34" name="TextBox 33"/>
          <p:cNvSpPr txBox="1"/>
          <p:nvPr/>
        </p:nvSpPr>
        <p:spPr>
          <a:xfrm>
            <a:off x="8526409" y="6459434"/>
            <a:ext cx="5982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3</a:t>
            </a:r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866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2">
            <a:extLst>
              <a:ext uri="{FF2B5EF4-FFF2-40B4-BE49-F238E27FC236}">
                <a16:creationId xmlns:a16="http://schemas.microsoft.com/office/drawing/2014/main" xmlns="" id="{03A4D8FC-74F9-4C0B-8499-688D14A2634C}"/>
              </a:ext>
            </a:extLst>
          </p:cNvPr>
          <p:cNvGrpSpPr>
            <a:grpSpLocks/>
          </p:cNvGrpSpPr>
          <p:nvPr/>
        </p:nvGrpSpPr>
        <p:grpSpPr>
          <a:xfrm>
            <a:off x="612889" y="1412776"/>
            <a:ext cx="8063567" cy="4032449"/>
            <a:chOff x="117752" y="1737719"/>
            <a:chExt cx="8561629" cy="395707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5153E671-EAAD-4398-8FE2-50C0795EF423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1737719"/>
              <a:ext cx="8560318" cy="10067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just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00" dirty="0">
                  <a:solidFill>
                    <a:srgbClr val="000000"/>
                  </a:solidFill>
                </a:rPr>
                <a:t>Формирование положительного образа Казахстана за </a:t>
              </a:r>
              <a:r>
                <a:rPr lang="ru-RU" sz="1600" dirty="0" smtClean="0">
                  <a:solidFill>
                    <a:srgbClr val="000000"/>
                  </a:solidFill>
                </a:rPr>
                <a:t>рубежом, продвижение </a:t>
              </a:r>
              <a:r>
                <a:rPr lang="ru-RU" sz="1600" b="1" dirty="0" err="1">
                  <a:solidFill>
                    <a:srgbClr val="000000"/>
                  </a:solidFill>
                </a:rPr>
                <a:t>странового</a:t>
              </a:r>
              <a:r>
                <a:rPr lang="ru-RU" sz="1600" b="1" dirty="0">
                  <a:solidFill>
                    <a:srgbClr val="000000"/>
                  </a:solidFill>
                </a:rPr>
                <a:t> туристского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бренда </a:t>
              </a:r>
              <a:r>
                <a:rPr lang="ru-RU" sz="1600" dirty="0">
                  <a:solidFill>
                    <a:srgbClr val="000000"/>
                  </a:solidFill>
                </a:rPr>
                <a:t>на </a:t>
              </a:r>
              <a:r>
                <a:rPr lang="ru-RU" sz="1600" dirty="0" smtClean="0">
                  <a:solidFill>
                    <a:srgbClr val="000000"/>
                  </a:solidFill>
                </a:rPr>
                <a:t>основе национальной идентичности, </a:t>
              </a:r>
              <a:r>
                <a:rPr lang="ru-RU" sz="1600" dirty="0">
                  <a:solidFill>
                    <a:srgbClr val="000000"/>
                  </a:solidFill>
                </a:rPr>
                <a:t>самобытной </a:t>
              </a:r>
              <a:r>
                <a:rPr lang="ru-RU" sz="1600" dirty="0" smtClean="0">
                  <a:solidFill>
                    <a:srgbClr val="000000"/>
                  </a:solidFill>
                </a:rPr>
                <a:t>культуры, гостеприимства, первозданной природы и многовековой истории Казахстана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32" dirty="0" smtClean="0">
                  <a:solidFill>
                    <a:srgbClr val="000000"/>
                  </a:solidFill>
                </a:rPr>
                <a:t>  </a:t>
              </a:r>
              <a:endParaRPr lang="ru-RU" sz="163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77A2F42A-C7FD-46FF-AA6C-2FBDC128BDDB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4956129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just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Снижение финансовой нагрузки на государственный бюджет в части затрат на маркетинг и продвижение туристского бренда по зарубежному опыту путем внедрения с 2021 года сбора с иностранных туристов - </a:t>
              </a:r>
              <a:r>
                <a:rPr lang="ru-RU" sz="1600" b="1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«</a:t>
              </a:r>
              <a:r>
                <a:rPr lang="ru-RU" sz="1600" b="1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bed</a:t>
              </a:r>
              <a:r>
                <a:rPr lang="ru-RU" sz="1600" b="1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600" b="1" dirty="0" err="1" smtClean="0">
                  <a:solidFill>
                    <a:srgbClr val="000000"/>
                  </a:solidFill>
                  <a:cs typeface="Arial" panose="020B0604020202020204" pitchFamily="34" charset="0"/>
                </a:rPr>
                <a:t>tax</a:t>
              </a:r>
              <a:r>
                <a:rPr lang="ru-RU" sz="1600" b="1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»</a:t>
              </a:r>
              <a:endParaRPr lang="ru-RU" sz="1600" b="1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D4924026-BDFA-449C-822A-9BD55D7F19E9}"/>
                </a:ext>
              </a:extLst>
            </p:cNvPr>
            <p:cNvSpPr txBox="1">
              <a:spLocks/>
            </p:cNvSpPr>
            <p:nvPr/>
          </p:nvSpPr>
          <p:spPr>
            <a:xfrm>
              <a:off x="117752" y="3928242"/>
              <a:ext cx="8560318" cy="7386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just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00" dirty="0">
                  <a:solidFill>
                    <a:srgbClr val="000000"/>
                  </a:solidFill>
                  <a:cs typeface="Arial" panose="020B0604020202020204" pitchFamily="34" charset="0"/>
                </a:rPr>
                <a:t>Формирование конкурентоспособного </a:t>
              </a:r>
              <a:r>
                <a:rPr lang="ru-RU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информационного </a:t>
              </a:r>
              <a:r>
                <a:rPr lang="ru-RU" sz="1600" b="1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контента</a:t>
              </a:r>
              <a:r>
                <a:rPr lang="ru-RU" sz="16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, </a:t>
              </a:r>
              <a:r>
                <a:rPr lang="ru-RU" sz="1600" dirty="0">
                  <a:solidFill>
                    <a:srgbClr val="000000"/>
                  </a:solidFill>
                  <a:cs typeface="Arial" panose="020B0604020202020204" pitchFamily="34" charset="0"/>
                </a:rPr>
                <a:t>развитие </a:t>
              </a:r>
              <a:r>
                <a:rPr lang="ru-RU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внешних</a:t>
              </a:r>
              <a:r>
                <a:rPr lang="ru-RU" sz="1600" dirty="0">
                  <a:solidFill>
                    <a:srgbClr val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6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и </a:t>
              </a:r>
              <a:r>
                <a:rPr lang="ru-RU" sz="1600" b="1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внутренних</a:t>
              </a:r>
              <a:r>
                <a:rPr lang="ru-RU" sz="16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 маркетинговых </a:t>
              </a:r>
              <a:r>
                <a:rPr lang="ru-RU" sz="1600" dirty="0">
                  <a:solidFill>
                    <a:srgbClr val="000000"/>
                  </a:solidFill>
                  <a:cs typeface="Arial" panose="020B0604020202020204" pitchFamily="34" charset="0"/>
                </a:rPr>
                <a:t>коммуникаций</a:t>
              </a:r>
              <a:endParaRPr lang="ru-RU" sz="16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A5EF63CC-AC0E-4C2F-8496-F023C5E7B342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2938973"/>
              <a:ext cx="8560318" cy="91860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just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5481"/>
                </a:buClr>
              </a:pPr>
              <a:r>
                <a:rPr lang="ru-RU" sz="1600" dirty="0" smtClean="0">
                  <a:solidFill>
                    <a:srgbClr val="000000"/>
                  </a:solidFill>
                </a:rPr>
                <a:t>Продвижение туристского бренда внутри страны и за рубежом через проведение рекламных кампаний и акций  единым бренд менеджером – 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АО </a:t>
              </a:r>
              <a:r>
                <a:rPr lang="ru-RU" sz="1600" b="1" dirty="0">
                  <a:solidFill>
                    <a:srgbClr val="000000"/>
                  </a:solidFill>
                </a:rPr>
                <a:t>«НК «</a:t>
              </a:r>
              <a:r>
                <a:rPr lang="ru-RU" sz="1600" b="1" dirty="0" err="1">
                  <a:solidFill>
                    <a:srgbClr val="000000"/>
                  </a:solidFill>
                </a:rPr>
                <a:t>KazakhTourism</a:t>
              </a:r>
              <a:r>
                <a:rPr lang="ru-RU" sz="1600" b="1" dirty="0" smtClean="0">
                  <a:solidFill>
                    <a:srgbClr val="000000"/>
                  </a:solidFill>
                </a:rPr>
                <a:t>»</a:t>
              </a:r>
              <a:endParaRPr lang="ru-RU" sz="16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endParaRPr>
            </a:p>
          </p:txBody>
        </p:sp>
        <p:cxnSp>
          <p:nvCxnSpPr>
            <p:cNvPr id="26" name="Straight Connector 32">
              <a:extLst>
                <a:ext uri="{FF2B5EF4-FFF2-40B4-BE49-F238E27FC236}">
                  <a16:creationId xmlns:a16="http://schemas.microsoft.com/office/drawing/2014/main" xmlns="" id="{B7A61182-0640-4346-925C-3881D608EE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815121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7">
              <a:extLst>
                <a:ext uri="{FF2B5EF4-FFF2-40B4-BE49-F238E27FC236}">
                  <a16:creationId xmlns:a16="http://schemas.microsoft.com/office/drawing/2014/main" xmlns="" id="{BA5AC031-8435-4759-853D-2E9064BDE8E1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3998904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9">
              <a:extLst>
                <a:ext uri="{FF2B5EF4-FFF2-40B4-BE49-F238E27FC236}">
                  <a16:creationId xmlns:a16="http://schemas.microsoft.com/office/drawing/2014/main" xmlns="" id="{C34BE4E2-0B90-4C95-B276-88DFBE3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4846848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3"/>
          <p:cNvSpPr txBox="1">
            <a:spLocks/>
          </p:cNvSpPr>
          <p:nvPr/>
        </p:nvSpPr>
        <p:spPr bwMode="auto">
          <a:xfrm>
            <a:off x="464078" y="174132"/>
            <a:ext cx="806233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ctr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u="sng" dirty="0">
                <a:solidFill>
                  <a:schemeClr val="tx2">
                    <a:lumMod val="75000"/>
                  </a:schemeClr>
                </a:solidFill>
              </a:rPr>
              <a:t>Четвертый приоритет: </a:t>
            </a:r>
          </a:p>
          <a:p>
            <a:r>
              <a:rPr lang="ru-RU" sz="2400" dirty="0">
                <a:solidFill>
                  <a:schemeClr val="tx2">
                    <a:lumMod val="75000"/>
                  </a:schemeClr>
                </a:solidFill>
              </a:rPr>
              <a:t>«Повышение эффективности маркетинга и продвижения туристических услуг»</a:t>
            </a:r>
          </a:p>
          <a:p>
            <a:endParaRPr lang="en-US" sz="24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8546542-9EBD-42BC-81E3-5058A611886B}"/>
              </a:ext>
            </a:extLst>
          </p:cNvPr>
          <p:cNvSpPr txBox="1">
            <a:spLocks/>
          </p:cNvSpPr>
          <p:nvPr/>
        </p:nvSpPr>
        <p:spPr>
          <a:xfrm>
            <a:off x="611560" y="5825175"/>
            <a:ext cx="7848872" cy="10317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462" tIns="73462" rIns="73462" bIns="73462" anchor="t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C00000"/>
                </a:solidFill>
                <a:latin typeface="Arial"/>
              </a:rPr>
              <a:t>146</a:t>
            </a:r>
            <a:r>
              <a:rPr lang="ru-RU" altLang="ru-RU" sz="1600" b="1" dirty="0">
                <a:solidFill>
                  <a:srgbClr val="0070C0"/>
                </a:solidFill>
                <a:latin typeface="Arial"/>
              </a:rPr>
              <a:t> </a:t>
            </a:r>
            <a:r>
              <a:rPr lang="ru-RU" altLang="ru-RU" sz="1600" b="1" dirty="0">
                <a:solidFill>
                  <a:srgbClr val="000000"/>
                </a:solidFill>
                <a:latin typeface="Arial"/>
              </a:rPr>
              <a:t>из</a:t>
            </a:r>
            <a:r>
              <a:rPr lang="ru-RU" altLang="ru-RU" sz="1600" b="1" dirty="0">
                <a:solidFill>
                  <a:srgbClr val="0070C0"/>
                </a:solidFill>
                <a:latin typeface="Arial"/>
              </a:rPr>
              <a:t> </a:t>
            </a:r>
            <a:r>
              <a:rPr lang="ru-RU" altLang="ru-RU" sz="1600" b="1" dirty="0">
                <a:solidFill>
                  <a:srgbClr val="C00000"/>
                </a:solidFill>
                <a:latin typeface="Arial"/>
              </a:rPr>
              <a:t>195 стран </a:t>
            </a:r>
            <a:r>
              <a:rPr lang="ru-RU" altLang="ru-RU" sz="1600" b="1" dirty="0">
                <a:solidFill>
                  <a:srgbClr val="000000"/>
                </a:solidFill>
                <a:latin typeface="Arial"/>
              </a:rPr>
              <a:t>мира имеют собственный </a:t>
            </a:r>
            <a:r>
              <a:rPr lang="ru-RU" altLang="ru-RU" sz="1600" b="1" dirty="0">
                <a:solidFill>
                  <a:srgbClr val="C00000"/>
                </a:solidFill>
                <a:latin typeface="Arial"/>
              </a:rPr>
              <a:t>туристский бренд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752889" y="6235600"/>
            <a:ext cx="7607839" cy="649785"/>
            <a:chOff x="599606" y="6167799"/>
            <a:chExt cx="8540479" cy="717585"/>
          </a:xfrm>
        </p:grpSpPr>
        <p:pic>
          <p:nvPicPr>
            <p:cNvPr id="33" name="Picture 6" descr="Картинки по запросу uzbekistan tourism logo"/>
            <p:cNvPicPr>
              <a:picLocks noChangeAspect="1" noChangeArrowheads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250" b="24691"/>
            <a:stretch/>
          </p:blipFill>
          <p:spPr bwMode="auto">
            <a:xfrm>
              <a:off x="7908954" y="6306922"/>
              <a:ext cx="1231131" cy="439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" descr="Картинки по запросу туристский бренд россии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52" b="22948"/>
            <a:stretch>
              <a:fillRect/>
            </a:stretch>
          </p:blipFill>
          <p:spPr bwMode="auto">
            <a:xfrm>
              <a:off x="6572385" y="6182502"/>
              <a:ext cx="1136399" cy="688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14" descr="Image result for australia destination logo"/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0" t="29088" b="32429"/>
            <a:stretch/>
          </p:blipFill>
          <p:spPr bwMode="auto">
            <a:xfrm>
              <a:off x="1384431" y="6167799"/>
              <a:ext cx="1452264" cy="7175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12" descr="Image result for brazil destination logo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606" y="6235599"/>
              <a:ext cx="584654" cy="581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8" descr="Image result for malaysia destination logo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09" t="18349" r="12154" b="16368"/>
            <a:stretch>
              <a:fillRect/>
            </a:stretch>
          </p:blipFill>
          <p:spPr bwMode="auto">
            <a:xfrm>
              <a:off x="5301080" y="6199226"/>
              <a:ext cx="1071133" cy="6547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1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036867" y="6310163"/>
              <a:ext cx="2064041" cy="432856"/>
            </a:xfrm>
            <a:prstGeom prst="rect">
              <a:avLst/>
            </a:prstGeom>
          </p:spPr>
        </p:pic>
      </p:grpSp>
      <p:sp>
        <p:nvSpPr>
          <p:cNvPr id="39" name="TextBox 38"/>
          <p:cNvSpPr txBox="1"/>
          <p:nvPr/>
        </p:nvSpPr>
        <p:spPr>
          <a:xfrm>
            <a:off x="8560136" y="6453337"/>
            <a:ext cx="531751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4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33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039551" y="836712"/>
            <a:ext cx="2919398" cy="93933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lvl="0" algn="ctr"/>
            <a:r>
              <a:rPr lang="ru-RU" sz="18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800" b="1" dirty="0" smtClean="0">
                <a:solidFill>
                  <a:schemeClr val="tx2"/>
                </a:solidFill>
              </a:rPr>
              <a:t> </a:t>
            </a:r>
            <a:r>
              <a:rPr lang="ru-RU" sz="18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группа: </a:t>
            </a:r>
            <a:r>
              <a:rPr lang="ru-RU" sz="1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траны </a:t>
            </a:r>
            <a:r>
              <a:rPr lang="ru-RU" sz="18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Ближнего </a:t>
            </a:r>
            <a:r>
              <a:rPr lang="ru-RU" sz="1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остока, Юго-Восточной Азии и США</a:t>
            </a:r>
            <a:endParaRPr lang="ru-RU" sz="18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763688" y="199196"/>
            <a:ext cx="5904655" cy="493054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/>
            <a:r>
              <a:rPr lang="ru-RU" sz="25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ПРОДВИЖЕНИЕ И МАРКЕТИНГ</a:t>
            </a:r>
            <a:endParaRPr lang="ru-RU" sz="2500" b="1" dirty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24099" y="966468"/>
            <a:ext cx="1851861" cy="662332"/>
          </a:xfrm>
          <a:prstGeom prst="rect">
            <a:avLst/>
          </a:prstGeom>
        </p:spPr>
        <p:txBody>
          <a:bodyPr wrap="none" lIns="107287" tIns="53643" rIns="107287" bIns="53643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1800" b="1" dirty="0" smtClean="0">
                <a:solidFill>
                  <a:schemeClr val="accent4"/>
                </a:solidFill>
              </a:rPr>
              <a:t> </a:t>
            </a:r>
            <a:r>
              <a:rPr lang="ru-RU" sz="18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группа:</a:t>
            </a:r>
          </a:p>
          <a:p>
            <a:pPr algn="ctr"/>
            <a:r>
              <a:rPr lang="ru-RU" sz="18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Россия </a:t>
            </a:r>
            <a:r>
              <a:rPr lang="ru-RU" sz="1800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8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Китай</a:t>
            </a:r>
            <a:endParaRPr lang="ru-RU" sz="2400" dirty="0">
              <a:solidFill>
                <a:schemeClr val="accent4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75856" y="844855"/>
            <a:ext cx="2511797" cy="939330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ru-RU" sz="1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8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уппа: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аны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вропы,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НГ, Индия, Иран и Южная Корея</a:t>
            </a:r>
            <a:endParaRPr lang="ru-RU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95536" y="1916832"/>
            <a:ext cx="2655415" cy="2068608"/>
            <a:chOff x="144812" y="3147814"/>
            <a:chExt cx="2293191" cy="1075304"/>
          </a:xfrm>
        </p:grpSpPr>
        <p:pic>
          <p:nvPicPr>
            <p:cNvPr id="80" name="Picture 25" descr="C:\Users\User\Downloads\skiing-295156_960_720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813" y="3435845"/>
              <a:ext cx="361933" cy="199487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TextBox 80"/>
            <p:cNvSpPr txBox="1"/>
            <p:nvPr/>
          </p:nvSpPr>
          <p:spPr>
            <a:xfrm>
              <a:off x="510118" y="3427583"/>
              <a:ext cx="1927885" cy="175987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txBody>
            <a:bodyPr wrap="non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Горнолыжные туры</a:t>
              </a:r>
            </a:p>
          </p:txBody>
        </p:sp>
        <p:pic>
          <p:nvPicPr>
            <p:cNvPr id="83" name="Picture 29" descr="Картинки по запросу beach tour 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421" b="20133"/>
            <a:stretch/>
          </p:blipFill>
          <p:spPr bwMode="auto">
            <a:xfrm>
              <a:off x="144812" y="3723878"/>
              <a:ext cx="361933" cy="207750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TextBox 83"/>
            <p:cNvSpPr txBox="1"/>
            <p:nvPr/>
          </p:nvSpPr>
          <p:spPr>
            <a:xfrm>
              <a:off x="515404" y="3723878"/>
              <a:ext cx="1922599" cy="175987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ляжный отдых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15404" y="3147814"/>
              <a:ext cx="1922599" cy="175987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риключенческий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6" name="Picture 3" descr="Картинки по запросу hiking 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813" y="3147814"/>
              <a:ext cx="361933" cy="20774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Box 87"/>
            <p:cNvSpPr txBox="1"/>
            <p:nvPr/>
          </p:nvSpPr>
          <p:spPr>
            <a:xfrm>
              <a:off x="515404" y="4015370"/>
              <a:ext cx="1922599" cy="15998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MICE </a:t>
              </a:r>
              <a:r>
                <a:rPr lang="ru-RU" sz="14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и сити туры</a:t>
              </a:r>
            </a:p>
          </p:txBody>
        </p:sp>
        <p:pic>
          <p:nvPicPr>
            <p:cNvPr id="2050" name="Picture 2" descr="Картинки по запросу mice tourism 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812" y="4015370"/>
              <a:ext cx="361933" cy="207748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Группа 12"/>
          <p:cNvGrpSpPr/>
          <p:nvPr/>
        </p:nvGrpSpPr>
        <p:grpSpPr>
          <a:xfrm>
            <a:off x="6168354" y="1916832"/>
            <a:ext cx="2796134" cy="2090050"/>
            <a:chOff x="6957222" y="4797152"/>
            <a:chExt cx="2388266" cy="1871169"/>
          </a:xfrm>
        </p:grpSpPr>
        <p:sp>
          <p:nvSpPr>
            <p:cNvPr id="97" name="TextBox 96"/>
            <p:cNvSpPr txBox="1"/>
            <p:nvPr/>
          </p:nvSpPr>
          <p:spPr>
            <a:xfrm>
              <a:off x="7389228" y="6350897"/>
              <a:ext cx="1956260" cy="317424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txBody>
            <a:bodyPr wrap="square" lIns="107287" tIns="53643" rIns="107287" bIns="53643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55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Рекреационный</a:t>
              </a:r>
            </a:p>
          </p:txBody>
        </p:sp>
        <p:pic>
          <p:nvPicPr>
            <p:cNvPr id="98" name="Picture 16" descr="Картинки по запросу sanatorium-resort 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8096" y="6350898"/>
              <a:ext cx="431133" cy="293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TextBox 100"/>
            <p:cNvSpPr txBox="1"/>
            <p:nvPr/>
          </p:nvSpPr>
          <p:spPr>
            <a:xfrm>
              <a:off x="7389229" y="5941475"/>
              <a:ext cx="1956255" cy="293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txBody>
            <a:bodyPr wrap="square" lIns="107287" tIns="53643" rIns="107287" bIns="53643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MICE </a:t>
              </a:r>
              <a:r>
                <a:rPr lang="ru-RU" sz="14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и сити туры</a:t>
              </a:r>
            </a:p>
          </p:txBody>
        </p:sp>
        <p:pic>
          <p:nvPicPr>
            <p:cNvPr id="102" name="Picture 2" descr="Картинки по запросу mice tourism 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8094" y="5941476"/>
              <a:ext cx="431137" cy="292999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2" name="Группа 131"/>
            <p:cNvGrpSpPr/>
            <p:nvPr/>
          </p:nvGrpSpPr>
          <p:grpSpPr>
            <a:xfrm>
              <a:off x="6957222" y="4797152"/>
              <a:ext cx="2388265" cy="1033926"/>
              <a:chOff x="677866" y="4299942"/>
              <a:chExt cx="2021925" cy="775444"/>
            </a:xfrm>
          </p:grpSpPr>
          <p:pic>
            <p:nvPicPr>
              <p:cNvPr id="133" name="Picture 16" descr="Похожее изображение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119" r="25780"/>
              <a:stretch/>
            </p:blipFill>
            <p:spPr bwMode="auto">
              <a:xfrm>
                <a:off x="678747" y="4299942"/>
                <a:ext cx="364861" cy="207749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4" name="TextBox 133"/>
              <p:cNvSpPr txBox="1"/>
              <p:nvPr/>
            </p:nvSpPr>
            <p:spPr>
              <a:xfrm>
                <a:off x="1043607" y="4299942"/>
                <a:ext cx="1656183" cy="227324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201162" indent="-201162">
                  <a:buFont typeface="Wingdings" pitchFamily="2" charset="2"/>
                  <a:buChar char="ü"/>
                </a:pPr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ко</a:t>
                </a:r>
                <a:endParaRPr lang="ru-RU" sz="12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35" name="Picture 18" descr="Картинки по запросу yurt 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7866" y="4587974"/>
                <a:ext cx="365742" cy="207749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6" name="TextBox 135"/>
              <p:cNvSpPr txBox="1"/>
              <p:nvPr/>
            </p:nvSpPr>
            <p:spPr>
              <a:xfrm>
                <a:off x="1043609" y="4587974"/>
                <a:ext cx="1656182" cy="227324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201162" indent="-201162">
                  <a:buFont typeface="Wingdings" pitchFamily="2" charset="2"/>
                  <a:buChar char="ü"/>
                </a:pPr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тно</a:t>
                </a:r>
                <a:endParaRPr lang="ru-RU" sz="12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TextBox 136"/>
              <p:cNvSpPr txBox="1"/>
              <p:nvPr/>
            </p:nvSpPr>
            <p:spPr>
              <a:xfrm>
                <a:off x="1036197" y="4867636"/>
                <a:ext cx="1663591" cy="207749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201162" indent="-201162">
                  <a:buFont typeface="Wingdings" pitchFamily="2" charset="2"/>
                  <a:buChar char="ü"/>
                </a:pPr>
                <a:r>
                  <a:rPr lang="ru-RU" sz="140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Историко-культурные</a:t>
                </a:r>
                <a:endParaRPr lang="ru-RU" sz="12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38" name="Picture 4" descr="C:\Users\User\Downloads\silkroadexplore_x2_logo (1).pn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8336" b="36958"/>
              <a:stretch/>
            </p:blipFill>
            <p:spPr bwMode="auto">
              <a:xfrm>
                <a:off x="677868" y="4867637"/>
                <a:ext cx="365740" cy="207749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6" name="Группа 75"/>
          <p:cNvGrpSpPr/>
          <p:nvPr/>
        </p:nvGrpSpPr>
        <p:grpSpPr>
          <a:xfrm>
            <a:off x="3309090" y="1916286"/>
            <a:ext cx="2703070" cy="1656730"/>
            <a:chOff x="677866" y="4299942"/>
            <a:chExt cx="2376424" cy="775443"/>
          </a:xfrm>
        </p:grpSpPr>
        <p:pic>
          <p:nvPicPr>
            <p:cNvPr id="77" name="Picture 16" descr="Похожее изображение"/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119" r="25780"/>
            <a:stretch/>
          </p:blipFill>
          <p:spPr bwMode="auto">
            <a:xfrm>
              <a:off x="678747" y="4299942"/>
              <a:ext cx="364861" cy="207749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TextBox 77"/>
            <p:cNvSpPr txBox="1"/>
            <p:nvPr/>
          </p:nvSpPr>
          <p:spPr>
            <a:xfrm>
              <a:off x="1043606" y="4299942"/>
              <a:ext cx="2010683" cy="17286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800" dirty="0" smtClean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Эко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9" name="Picture 18" descr="Картинки по запросу yurt 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866" y="4587974"/>
              <a:ext cx="365742" cy="207749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TextBox 81"/>
            <p:cNvSpPr txBox="1"/>
            <p:nvPr/>
          </p:nvSpPr>
          <p:spPr>
            <a:xfrm>
              <a:off x="1043608" y="4587974"/>
              <a:ext cx="2010681" cy="17286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800" dirty="0" err="1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Этнотуры</a:t>
              </a:r>
              <a:endPara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043607" y="4867637"/>
              <a:ext cx="2010683" cy="144057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pPr marL="201162" indent="-201162">
                <a:buFont typeface="Wingdings" pitchFamily="2" charset="2"/>
                <a:buChar char="ü"/>
              </a:pPr>
              <a:r>
                <a:rPr lang="ru-RU" sz="14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Историко-культурные</a:t>
              </a:r>
              <a:endPara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9" name="Picture 4" descr="C:\Users\User\Downloads\silkroadexplore_x2_logo (1)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336" b="36958"/>
            <a:stretch/>
          </p:blipFill>
          <p:spPr bwMode="auto">
            <a:xfrm>
              <a:off x="677868" y="4867637"/>
              <a:ext cx="365740" cy="20774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AutoShape 2" descr="Картинки по запросу значок national geographic"/>
          <p:cNvSpPr>
            <a:spLocks noChangeAspect="1" noChangeArrowheads="1"/>
          </p:cNvSpPr>
          <p:nvPr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4" name="Группа 3"/>
          <p:cNvGrpSpPr/>
          <p:nvPr/>
        </p:nvGrpSpPr>
        <p:grpSpPr>
          <a:xfrm>
            <a:off x="1115616" y="4293096"/>
            <a:ext cx="7045623" cy="2285448"/>
            <a:chOff x="31874" y="2996952"/>
            <a:chExt cx="9817670" cy="3724425"/>
          </a:xfrm>
        </p:grpSpPr>
        <p:pic>
          <p:nvPicPr>
            <p:cNvPr id="48" name="Picture 1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617296" y="3694783"/>
              <a:ext cx="768521" cy="787750"/>
            </a:xfrm>
            <a:prstGeom prst="rect">
              <a:avLst/>
            </a:prstGeom>
          </p:spPr>
        </p:pic>
        <p:pic>
          <p:nvPicPr>
            <p:cNvPr id="49" name="Picture 12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5168" y="3588292"/>
              <a:ext cx="1150388" cy="991465"/>
            </a:xfrm>
            <a:prstGeom prst="rect">
              <a:avLst/>
            </a:prstGeom>
          </p:spPr>
        </p:pic>
        <p:pic>
          <p:nvPicPr>
            <p:cNvPr id="50" name="Picture 14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9024" y="3789040"/>
              <a:ext cx="1231642" cy="610048"/>
            </a:xfrm>
            <a:prstGeom prst="rect">
              <a:avLst/>
            </a:prstGeom>
          </p:spPr>
        </p:pic>
        <p:pic>
          <p:nvPicPr>
            <p:cNvPr id="51" name="Picture 16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0774" y="2996952"/>
              <a:ext cx="2052346" cy="712920"/>
            </a:xfrm>
            <a:prstGeom prst="rect">
              <a:avLst/>
            </a:prstGeom>
          </p:spPr>
        </p:pic>
        <p:pic>
          <p:nvPicPr>
            <p:cNvPr id="52" name="Picture 18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8514" y="3802946"/>
              <a:ext cx="626374" cy="623590"/>
            </a:xfrm>
            <a:prstGeom prst="rect">
              <a:avLst/>
            </a:prstGeom>
          </p:spPr>
        </p:pic>
        <p:pic>
          <p:nvPicPr>
            <p:cNvPr id="53" name="Picture 19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70728" y="3872484"/>
              <a:ext cx="1026288" cy="492619"/>
            </a:xfrm>
            <a:prstGeom prst="rect">
              <a:avLst/>
            </a:prstGeom>
          </p:spPr>
        </p:pic>
        <p:pic>
          <p:nvPicPr>
            <p:cNvPr id="54" name="Picture 21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6172" y="3802946"/>
              <a:ext cx="1453372" cy="562158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0632" y="3715463"/>
              <a:ext cx="1556672" cy="808998"/>
            </a:xfrm>
            <a:prstGeom prst="rect">
              <a:avLst/>
            </a:prstGeom>
          </p:spPr>
        </p:pic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74" y="3332644"/>
              <a:ext cx="1790164" cy="10938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206" y="4610848"/>
              <a:ext cx="1070635" cy="79014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0358" y="4803185"/>
              <a:ext cx="1794876" cy="69649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9835" y="5760337"/>
              <a:ext cx="1812371" cy="76844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3156" y="5567744"/>
              <a:ext cx="1786731" cy="1153633"/>
            </a:xfrm>
            <a:prstGeom prst="rect">
              <a:avLst/>
            </a:prstGeom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383" y="4141665"/>
              <a:ext cx="1376462" cy="1035099"/>
            </a:xfrm>
            <a:prstGeom prst="rect">
              <a:avLst/>
            </a:prstGeom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3533" y="4502211"/>
              <a:ext cx="1752615" cy="108759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1" name="Рисунок 60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502" y="5229200"/>
              <a:ext cx="1152128" cy="1367192"/>
            </a:xfrm>
            <a:prstGeom prst="rect">
              <a:avLst/>
            </a:prstGeom>
          </p:spPr>
        </p:pic>
        <p:pic>
          <p:nvPicPr>
            <p:cNvPr id="62" name="Рисунок 61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6598" y="4640551"/>
              <a:ext cx="1043924" cy="1021760"/>
            </a:xfrm>
            <a:prstGeom prst="rect">
              <a:avLst/>
            </a:prstGeom>
          </p:spPr>
        </p:pic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6603" y="5552843"/>
              <a:ext cx="2255911" cy="952500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65" name="TextBox 64"/>
          <p:cNvSpPr txBox="1"/>
          <p:nvPr/>
        </p:nvSpPr>
        <p:spPr>
          <a:xfrm>
            <a:off x="8536575" y="6472388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ru-RU" sz="1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5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734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Объект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1942" y="1"/>
          <a:ext cx="14951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9" name="Объект 2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51942" y="1"/>
                        <a:ext cx="14951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3"/>
            </p:custDataLst>
          </p:nvPr>
        </p:nvSpPr>
        <p:spPr bwMode="auto">
          <a:xfrm>
            <a:off x="351942" y="1"/>
            <a:ext cx="14951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020" dirty="0" err="1">
              <a:solidFill>
                <a:srgbClr val="000000"/>
              </a:solidFill>
              <a:latin typeface="Arial"/>
              <a:sym typeface="Arial"/>
            </a:endParaRPr>
          </a:p>
        </p:txBody>
      </p:sp>
      <p:pic>
        <p:nvPicPr>
          <p:cNvPr id="1207298" name="Picture 2" descr="C:\Users\Шолпан\YandexDisk\Tourism\Media\Флаги стран\Turkey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856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496" y="133641"/>
            <a:ext cx="9056391" cy="738664"/>
          </a:xfrm>
        </p:spPr>
        <p:txBody>
          <a:bodyPr/>
          <a:lstStyle/>
          <a:p>
            <a:pPr algn="ctr"/>
            <a:r>
              <a:rPr lang="ru-RU" sz="2400" u="sng" kern="1200" dirty="0">
                <a:solidFill>
                  <a:schemeClr val="tx2">
                    <a:lumMod val="75000"/>
                  </a:schemeClr>
                </a:solidFill>
              </a:rPr>
              <a:t>Пятый приоритет:</a:t>
            </a:r>
            <a:br>
              <a:rPr lang="ru-RU" sz="2400" u="sng" kern="12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kern="1200" dirty="0">
                <a:solidFill>
                  <a:schemeClr val="tx2">
                    <a:lumMod val="75000"/>
                  </a:schemeClr>
                </a:solidFill>
              </a:rPr>
              <a:t>«Повышение эффективности </a:t>
            </a: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господдержки</a:t>
            </a:r>
            <a:r>
              <a:rPr lang="ru-RU" sz="2400" kern="1200" dirty="0">
                <a:solidFill>
                  <a:schemeClr val="tx2">
                    <a:lumMod val="75000"/>
                  </a:schemeClr>
                </a:solidFill>
              </a:rPr>
              <a:t>»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92493" y="1851369"/>
            <a:ext cx="3729632" cy="439479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>
            <a:defPPr>
              <a:defRPr lang="en-US"/>
            </a:defPPr>
            <a:lvl1pPr marL="17145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0000"/>
                </a:solidFill>
                <a:latin typeface="Arial"/>
                <a:ea typeface="Arial Unicode MS"/>
                <a:cs typeface="Arial Unicode MS"/>
              </a:defRPr>
            </a:lvl1pPr>
          </a:lstStyle>
          <a:p>
            <a:pPr marL="174930" indent="-174930" defTabSz="932962">
              <a:buClr>
                <a:srgbClr val="005481"/>
              </a:buClr>
            </a:pPr>
            <a:r>
              <a:rPr lang="ru-RU" sz="1428" dirty="0"/>
              <a:t>Субсидирование капитальных расходов</a:t>
            </a:r>
          </a:p>
        </p:txBody>
      </p:sp>
      <p:sp>
        <p:nvSpPr>
          <p:cNvPr id="50" name="TextBox 49"/>
          <p:cNvSpPr txBox="1"/>
          <p:nvPr>
            <p:custDataLst>
              <p:tags r:id="rId6"/>
            </p:custDataLst>
          </p:nvPr>
        </p:nvSpPr>
        <p:spPr>
          <a:xfrm>
            <a:off x="692493" y="3667333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>
            <a:defPPr>
              <a:defRPr lang="en-US"/>
            </a:defPPr>
            <a:lvl1pPr marL="17145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0000"/>
                </a:solidFill>
                <a:latin typeface="Arial"/>
                <a:ea typeface="Arial Unicode MS"/>
                <a:cs typeface="Arial Unicode MS"/>
              </a:defRPr>
            </a:lvl1pPr>
          </a:lstStyle>
          <a:p>
            <a:pPr marL="174930" indent="-174930" defTabSz="932962">
              <a:buClr>
                <a:srgbClr val="005481"/>
              </a:buClr>
            </a:pPr>
            <a:r>
              <a:rPr lang="ru-RU" sz="1428" dirty="0"/>
              <a:t>Налоговые льготы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692493" y="4236776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>
            <a:defPPr>
              <a:defRPr lang="en-US"/>
            </a:defPPr>
            <a:lvl1pPr marL="17145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0000"/>
                </a:solidFill>
                <a:latin typeface="Arial"/>
                <a:ea typeface="Arial Unicode MS"/>
                <a:cs typeface="Arial Unicode MS"/>
              </a:defRPr>
            </a:lvl1pPr>
          </a:lstStyle>
          <a:p>
            <a:pPr marL="174930" indent="-174930" defTabSz="932962">
              <a:buClr>
                <a:srgbClr val="005481"/>
              </a:buClr>
            </a:pPr>
            <a:r>
              <a:rPr lang="ru-RU" sz="1428" dirty="0"/>
              <a:t>Субсидии на обучение</a:t>
            </a:r>
          </a:p>
        </p:txBody>
      </p:sp>
      <p:sp>
        <p:nvSpPr>
          <p:cNvPr id="84" name="TextBox 83"/>
          <p:cNvSpPr txBox="1"/>
          <p:nvPr>
            <p:custDataLst>
              <p:tags r:id="rId7"/>
            </p:custDataLst>
          </p:nvPr>
        </p:nvSpPr>
        <p:spPr>
          <a:xfrm>
            <a:off x="692493" y="4806218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>
            <a:defPPr>
              <a:defRPr lang="en-US"/>
            </a:defPPr>
            <a:lvl1pPr marL="17145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0000"/>
                </a:solidFill>
                <a:latin typeface="Arial"/>
                <a:ea typeface="Arial Unicode MS"/>
                <a:cs typeface="Arial Unicode MS"/>
              </a:defRPr>
            </a:lvl1pPr>
          </a:lstStyle>
          <a:p>
            <a:pPr marL="174930" indent="-174930" defTabSz="932962">
              <a:buClr>
                <a:srgbClr val="005481"/>
              </a:buClr>
            </a:pPr>
            <a:r>
              <a:rPr lang="ru-RU" sz="1428" dirty="0"/>
              <a:t>Субсидии на транспорт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2493" y="3097892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/>
          <a:p>
            <a:pPr marL="174930" indent="-174930" defTabSz="932962">
              <a:buClr>
                <a:srgbClr val="005481"/>
              </a:buClr>
              <a:buFont typeface="Wingdings" panose="05000000000000000000" pitchFamily="2" charset="2"/>
              <a:buChar char="§"/>
            </a:pPr>
            <a:r>
              <a:rPr lang="ru-RU" sz="1428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Выделение государственных земел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92493" y="5833001"/>
            <a:ext cx="3729632" cy="448406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/>
          <a:p>
            <a:pPr marL="174930" indent="-174930" defTabSz="932962">
              <a:buClr>
                <a:srgbClr val="005481"/>
              </a:buClr>
              <a:buFont typeface="Wingdings" panose="05000000000000000000" pitchFamily="2" charset="2"/>
              <a:buChar char="§"/>
            </a:pPr>
            <a:r>
              <a:rPr lang="ru-RU" sz="1428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Разрешение на привлечение иностранной рабочей силы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92493" y="5375660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/>
          <a:p>
            <a:pPr marL="174930" indent="-174930" defTabSz="932962">
              <a:buClr>
                <a:srgbClr val="005481"/>
              </a:buClr>
              <a:buFont typeface="Wingdings" panose="05000000000000000000" pitchFamily="2" charset="2"/>
              <a:buChar char="§"/>
            </a:pPr>
            <a:r>
              <a:rPr lang="ru-RU" sz="1428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Скидки на воду, электричество и газ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92493" y="2537954"/>
            <a:ext cx="3729632" cy="224203"/>
          </a:xfrm>
          <a:prstGeom prst="rect">
            <a:avLst/>
          </a:prstGeom>
          <a:solidFill>
            <a:srgbClr val="C6E1FE"/>
          </a:solidFill>
        </p:spPr>
        <p:txBody>
          <a:bodyPr tIns="0" bIns="0" anchor="ctr">
            <a:spAutoFit/>
          </a:bodyPr>
          <a:lstStyle/>
          <a:p>
            <a:pPr marL="174930" indent="-174930" defTabSz="932962">
              <a:buClr>
                <a:srgbClr val="005481"/>
              </a:buClr>
              <a:buFont typeface="Wingdings" panose="05000000000000000000" pitchFamily="2" charset="2"/>
              <a:buChar char="§"/>
            </a:pPr>
            <a:r>
              <a:rPr lang="ru-RU" sz="1428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Льготное таможенное оформление</a:t>
            </a:r>
          </a:p>
        </p:txBody>
      </p:sp>
      <p:pic>
        <p:nvPicPr>
          <p:cNvPr id="85" name="Picture 36" descr="C:\Users\Шолпан\YandexDisk\Tourism\Media\Флаги стран\Australia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6223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7306" name="Picture 10" descr="C:\Users\Шолпан\YandexDisk\Tourism\Media\Флаги стран\Greece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690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7307" name="Picture 11" descr="C:\Users\Шолпан\YandexDisk\Tourism\Media\Флаги стран\United Arab Emirates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6004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7308" name="Picture 12" descr="C:\Users\Шолпан\YandexDisk\Tourism\Media\Флаги стран\Hungary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697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7309" name="Picture 13" descr="C:\Users\Шолпан\YandexDisk\Tourism\Media\Флаги стран\Uzbekistan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158" y="1051248"/>
            <a:ext cx="339057" cy="36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44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67069" y="1026272"/>
            <a:ext cx="8209864" cy="5363511"/>
          </a:xfrm>
          <a:prstGeom prst="rect">
            <a:avLst/>
          </a:prstGeom>
          <a:noFill/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3287" tIns="46644" rIns="93287" bIns="46644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24" dirty="0">
              <a:solidFill>
                <a:srgbClr val="000000"/>
              </a:solidFill>
              <a:latin typeface="Arial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24" dirty="0" err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1" name="Group 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693941" y="992260"/>
            <a:ext cx="3728184" cy="634137"/>
            <a:chOff x="915" y="114"/>
            <a:chExt cx="1602" cy="783"/>
          </a:xfrm>
        </p:grpSpPr>
        <p:cxnSp>
          <p:nvCxnSpPr>
            <p:cNvPr id="22" name="AutoShape 249"/>
            <p:cNvCxnSpPr>
              <a:cxnSpLocks noChangeShapeType="1"/>
              <a:stCxn id="24" idx="4"/>
              <a:endCxn id="24" idx="6"/>
            </p:cNvCxnSpPr>
            <p:nvPr/>
          </p:nvCxnSpPr>
          <p:spPr bwMode="auto">
            <a:xfrm>
              <a:off x="915" y="897"/>
              <a:ext cx="160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" name="AutoShape 250"/>
            <p:cNvSpPr>
              <a:spLocks noChangeArrowheads="1"/>
            </p:cNvSpPr>
            <p:nvPr/>
          </p:nvSpPr>
          <p:spPr bwMode="auto">
            <a:xfrm>
              <a:off x="915" y="114"/>
              <a:ext cx="1602" cy="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1" dirty="0">
                  <a:solidFill>
                    <a:srgbClr val="000000"/>
                  </a:solidFill>
                  <a:latin typeface="Arial" charset="0"/>
                </a:rPr>
                <a:t>Меры </a:t>
              </a:r>
              <a:r>
                <a:rPr lang="ru-RU" sz="2000" b="1" dirty="0" smtClean="0">
                  <a:solidFill>
                    <a:srgbClr val="000000"/>
                  </a:solidFill>
                  <a:latin typeface="Arial" charset="0"/>
                </a:rPr>
                <a:t>поддержки: международная практика</a:t>
              </a:r>
              <a:endParaRPr lang="ru-RU" sz="2000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4532380" y="1772781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532380" y="2342223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532380" y="2911665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532380" y="3481107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532380" y="405054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532380" y="461999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532380" y="5189434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532380" y="575887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246348" y="177278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246348" y="2342224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246348" y="2911666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246348" y="348110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246348" y="405054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246348" y="4619993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246348" y="575887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948824" y="177278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948824" y="2342224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948824" y="348110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948824" y="405054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5948824" y="4619993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948824" y="575887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711335" y="177277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711335" y="234222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711335" y="2911664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711335" y="3481106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711335" y="405054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6711335" y="4619991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6711335" y="5758877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453851" y="177277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7453851" y="234222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7453851" y="2911664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453851" y="3481106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7453851" y="405054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7453851" y="4619991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7453851" y="5758877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8096153" y="177277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8096153" y="2342221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8096153" y="2911663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8096153" y="3481105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8096153" y="461998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8096153" y="5758876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00B050"/>
                </a:solidFill>
                <a:latin typeface="Arial" charset="0"/>
              </a:rPr>
              <a:t>✓</a:t>
            </a:r>
          </a:p>
        </p:txBody>
      </p:sp>
      <p:grpSp>
        <p:nvGrpSpPr>
          <p:cNvPr id="78" name="Group 5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576570" y="1266635"/>
            <a:ext cx="558860" cy="363637"/>
            <a:chOff x="915" y="448"/>
            <a:chExt cx="233" cy="449"/>
          </a:xfrm>
        </p:grpSpPr>
        <p:cxnSp>
          <p:nvCxnSpPr>
            <p:cNvPr id="79" name="AutoShape 249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915" y="897"/>
              <a:ext cx="23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0" name="AutoShape 250"/>
            <p:cNvSpPr>
              <a:spLocks noChangeArrowheads="1"/>
            </p:cNvSpPr>
            <p:nvPr/>
          </p:nvSpPr>
          <p:spPr bwMode="auto">
            <a:xfrm>
              <a:off x="915" y="448"/>
              <a:ext cx="233" cy="4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Турция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grpSp>
        <p:nvGrpSpPr>
          <p:cNvPr id="81" name="Group 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172028" y="1266636"/>
            <a:ext cx="776796" cy="363636"/>
            <a:chOff x="915" y="448"/>
            <a:chExt cx="358" cy="449"/>
          </a:xfrm>
        </p:grpSpPr>
        <p:cxnSp>
          <p:nvCxnSpPr>
            <p:cNvPr id="82" name="AutoShape 249"/>
            <p:cNvCxnSpPr>
              <a:cxnSpLocks noChangeShapeType="1"/>
              <a:stCxn id="86" idx="4"/>
              <a:endCxn id="86" idx="6"/>
            </p:cNvCxnSpPr>
            <p:nvPr/>
          </p:nvCxnSpPr>
          <p:spPr bwMode="auto">
            <a:xfrm>
              <a:off x="915" y="897"/>
              <a:ext cx="35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6" name="AutoShape 250"/>
            <p:cNvSpPr>
              <a:spLocks noChangeArrowheads="1"/>
            </p:cNvSpPr>
            <p:nvPr/>
          </p:nvSpPr>
          <p:spPr bwMode="auto">
            <a:xfrm>
              <a:off x="915" y="448"/>
              <a:ext cx="358" cy="4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Австралия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grpSp>
        <p:nvGrpSpPr>
          <p:cNvPr id="87" name="Group 5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003957" y="1439139"/>
            <a:ext cx="506986" cy="191132"/>
            <a:chOff x="915" y="661"/>
            <a:chExt cx="268" cy="236"/>
          </a:xfrm>
        </p:grpSpPr>
        <p:cxnSp>
          <p:nvCxnSpPr>
            <p:cNvPr id="88" name="AutoShape 249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915" y="897"/>
              <a:ext cx="26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9" name="AutoShape 250"/>
            <p:cNvSpPr>
              <a:spLocks noChangeArrowheads="1"/>
            </p:cNvSpPr>
            <p:nvPr/>
          </p:nvSpPr>
          <p:spPr bwMode="auto">
            <a:xfrm>
              <a:off x="915" y="661"/>
              <a:ext cx="268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Греция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grpSp>
        <p:nvGrpSpPr>
          <p:cNvPr id="90" name="Group 5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6599416" y="1439141"/>
            <a:ext cx="781291" cy="191132"/>
            <a:chOff x="915" y="661"/>
            <a:chExt cx="413" cy="236"/>
          </a:xfrm>
        </p:grpSpPr>
        <p:cxnSp>
          <p:nvCxnSpPr>
            <p:cNvPr id="91" name="AutoShape 249"/>
            <p:cNvCxnSpPr>
              <a:cxnSpLocks noChangeShapeType="1"/>
              <a:stCxn id="92" idx="4"/>
              <a:endCxn id="92" idx="6"/>
            </p:cNvCxnSpPr>
            <p:nvPr/>
          </p:nvCxnSpPr>
          <p:spPr bwMode="auto">
            <a:xfrm>
              <a:off x="915" y="897"/>
              <a:ext cx="41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2" name="AutoShape 250"/>
            <p:cNvSpPr>
              <a:spLocks noChangeArrowheads="1"/>
            </p:cNvSpPr>
            <p:nvPr/>
          </p:nvSpPr>
          <p:spPr bwMode="auto">
            <a:xfrm>
              <a:off x="915" y="661"/>
              <a:ext cx="413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Узбекистан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grpSp>
        <p:nvGrpSpPr>
          <p:cNvPr id="93" name="Group 5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465396" y="1439138"/>
            <a:ext cx="592115" cy="191132"/>
            <a:chOff x="1000" y="661"/>
            <a:chExt cx="313" cy="236"/>
          </a:xfrm>
        </p:grpSpPr>
        <p:cxnSp>
          <p:nvCxnSpPr>
            <p:cNvPr id="94" name="AutoShape 249"/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1000" y="897"/>
              <a:ext cx="31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5" name="AutoShape 250"/>
            <p:cNvSpPr>
              <a:spLocks noChangeArrowheads="1"/>
            </p:cNvSpPr>
            <p:nvPr/>
          </p:nvSpPr>
          <p:spPr bwMode="auto">
            <a:xfrm>
              <a:off x="1000" y="661"/>
              <a:ext cx="313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Венгрия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grpSp>
        <p:nvGrpSpPr>
          <p:cNvPr id="96" name="Group 5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128955" y="1435901"/>
            <a:ext cx="440775" cy="194371"/>
            <a:chOff x="1055" y="657"/>
            <a:chExt cx="233" cy="240"/>
          </a:xfrm>
        </p:grpSpPr>
        <p:cxnSp>
          <p:nvCxnSpPr>
            <p:cNvPr id="97" name="AutoShape 249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1055" y="897"/>
              <a:ext cx="23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8" name="AutoShape 250"/>
            <p:cNvSpPr>
              <a:spLocks noChangeArrowheads="1"/>
            </p:cNvSpPr>
            <p:nvPr/>
          </p:nvSpPr>
          <p:spPr bwMode="auto">
            <a:xfrm>
              <a:off x="1055" y="657"/>
              <a:ext cx="233" cy="2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366" anchor="b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22" dirty="0">
                  <a:solidFill>
                    <a:srgbClr val="000000"/>
                  </a:solidFill>
                  <a:latin typeface="Arial" charset="0"/>
                </a:rPr>
                <a:t>ОАЭ</a:t>
              </a:r>
              <a:endParaRPr lang="ru-RU" sz="1122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sp>
        <p:nvSpPr>
          <p:cNvPr id="99" name="Прямоугольник 98"/>
          <p:cNvSpPr/>
          <p:nvPr/>
        </p:nvSpPr>
        <p:spPr>
          <a:xfrm>
            <a:off x="6701337" y="524900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5907085" y="522179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7453850" y="5249009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5219732" y="5216642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5941770" y="2922727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8104288" y="5249008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8074856" y="4029320"/>
            <a:ext cx="603050" cy="5947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3265" dirty="0">
                <a:solidFill>
                  <a:srgbClr val="FF0000"/>
                </a:solidFill>
                <a:latin typeface="Arial" charset="0"/>
              </a:rPr>
              <a:t>✘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8493667" y="6453337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ru-RU" sz="1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6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255319" y="3258297"/>
            <a:ext cx="4633362" cy="3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98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64078" y="174132"/>
            <a:ext cx="8428402" cy="225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  <a:t>Шестой приоритет:</a:t>
            </a:r>
            <a:br>
              <a:rPr lang="ru-RU" sz="2400" u="sng" kern="12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kern="1200" dirty="0" smtClean="0">
                <a:solidFill>
                  <a:schemeClr val="tx2">
                    <a:lumMod val="75000"/>
                  </a:schemeClr>
                </a:solidFill>
              </a:rPr>
              <a:t>«</a:t>
            </a:r>
            <a:r>
              <a:rPr lang="ru-RU" sz="2000" kern="1200" dirty="0" smtClean="0">
                <a:solidFill>
                  <a:schemeClr val="tx2">
                    <a:lumMod val="75000"/>
                  </a:schemeClr>
                </a:solidFill>
              </a:rPr>
              <a:t>Совершенствование </a:t>
            </a:r>
            <a:r>
              <a:rPr lang="ru-RU" sz="2000" kern="1200" dirty="0">
                <a:solidFill>
                  <a:schemeClr val="tx2">
                    <a:lumMod val="75000"/>
                  </a:schemeClr>
                </a:solidFill>
              </a:rPr>
              <a:t>стандартов сервиса, кадрового обеспечения, культуры и туристической информационной </a:t>
            </a:r>
            <a:r>
              <a:rPr lang="ru-RU" sz="2000" kern="1200" dirty="0" smtClean="0">
                <a:solidFill>
                  <a:schemeClr val="tx2">
                    <a:lumMod val="75000"/>
                  </a:schemeClr>
                </a:solidFill>
              </a:rPr>
              <a:t>среды»</a:t>
            </a:r>
            <a:endParaRPr lang="ru-RU" sz="2000" kern="12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5CA7553D-B697-4800-932D-6913B57E6DE3}"/>
              </a:ext>
            </a:extLst>
          </p:cNvPr>
          <p:cNvGrpSpPr/>
          <p:nvPr/>
        </p:nvGrpSpPr>
        <p:grpSpPr>
          <a:xfrm>
            <a:off x="464078" y="1578629"/>
            <a:ext cx="8356394" cy="5162739"/>
            <a:chOff x="119063" y="1142042"/>
            <a:chExt cx="8590300" cy="5157159"/>
          </a:xfrm>
        </p:grpSpPr>
        <p:sp>
          <p:nvSpPr>
            <p:cNvPr id="11" name="Rectangle 10"/>
            <p:cNvSpPr>
              <a:spLocks/>
            </p:cNvSpPr>
            <p:nvPr/>
          </p:nvSpPr>
          <p:spPr>
            <a:xfrm>
              <a:off x="119063" y="2186508"/>
              <a:ext cx="2624137" cy="14773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73472" tIns="73472" rIns="73472" bIns="73472" anchor="ctr" anchorCtr="0">
              <a:no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ru-RU" sz="1632" b="1" dirty="0">
                  <a:solidFill>
                    <a:srgbClr val="FFFFFF"/>
                  </a:solidFill>
                  <a:latin typeface="Arial" charset="0"/>
                </a:rPr>
                <a:t>Совершенствование</a:t>
              </a:r>
              <a:r>
                <a:rPr lang="en-US" sz="1632" b="1" dirty="0">
                  <a:solidFill>
                    <a:srgbClr val="FFFFFF"/>
                  </a:solidFill>
                  <a:latin typeface="Arial" charset="0"/>
                </a:rPr>
                <a:t> </a:t>
              </a:r>
              <a:r>
                <a:rPr lang="ru-RU" sz="1632" b="1" dirty="0">
                  <a:solidFill>
                    <a:srgbClr val="FFFFFF"/>
                  </a:solidFill>
                  <a:latin typeface="Arial" charset="0"/>
                </a:rPr>
                <a:t>государственных стандартов качества до уровня международных </a:t>
              </a:r>
              <a:endParaRPr lang="en-US" sz="1632" b="1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6CBFCA9D-7648-4080-829E-3C73E131847C}"/>
                </a:ext>
              </a:extLst>
            </p:cNvPr>
            <p:cNvSpPr txBox="1">
              <a:spLocks/>
            </p:cNvSpPr>
            <p:nvPr/>
          </p:nvSpPr>
          <p:spPr>
            <a:xfrm>
              <a:off x="2830287" y="2186508"/>
              <a:ext cx="5879074" cy="14773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Создание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 Центра аккредитации </a:t>
              </a: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гидов</a:t>
              </a: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Введение </a:t>
              </a: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систем 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обязательной </a:t>
              </a:r>
              <a:r>
                <a:rPr lang="ru-RU" sz="1600" b="1" dirty="0" err="1">
                  <a:solidFill>
                    <a:srgbClr val="000000"/>
                  </a:solidFill>
                  <a:latin typeface="Arial"/>
                </a:rPr>
                <a:t>категорийности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(звездности) мест размещения и </a:t>
              </a: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добровольной 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оценки качества </a:t>
              </a:r>
              <a:r>
                <a:rPr lang="ru-RU" sz="1600" b="1" dirty="0" err="1">
                  <a:solidFill>
                    <a:srgbClr val="000000"/>
                  </a:solidFill>
                  <a:latin typeface="Arial"/>
                </a:rPr>
                <a:t>туруслуг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на примере испанской </a:t>
              </a:r>
              <a:r>
                <a:rPr lang="ru-RU" sz="1632" dirty="0" smtClean="0">
                  <a:solidFill>
                    <a:srgbClr val="000000"/>
                  </a:solidFill>
                  <a:latin typeface="Arial"/>
                </a:rPr>
                <a:t>системы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Q</a:t>
              </a:r>
            </a:p>
          </p:txBody>
        </p:sp>
        <p:sp>
          <p:nvSpPr>
            <p:cNvPr id="12" name="Rectangle 11"/>
            <p:cNvSpPr>
              <a:spLocks/>
            </p:cNvSpPr>
            <p:nvPr/>
          </p:nvSpPr>
          <p:spPr>
            <a:xfrm>
              <a:off x="119063" y="3777408"/>
              <a:ext cx="2624137" cy="14773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73472" tIns="73472" rIns="73472" bIns="73472" anchor="ctr" anchorCtr="0">
              <a:no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ru-RU" sz="1632" b="1" dirty="0">
                  <a:solidFill>
                    <a:srgbClr val="FFFFFF"/>
                  </a:solidFill>
                  <a:latin typeface="Arial" charset="0"/>
                </a:rPr>
                <a:t>Обеспечение снижения стоимости турпродуктов и услуг</a:t>
              </a:r>
              <a:endParaRPr lang="en-US" sz="1632" b="1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4CD6832F-344B-451A-955B-83A9220AE210}"/>
                </a:ext>
              </a:extLst>
            </p:cNvPr>
            <p:cNvSpPr txBox="1">
              <a:spLocks/>
            </p:cNvSpPr>
            <p:nvPr/>
          </p:nvSpPr>
          <p:spPr>
            <a:xfrm>
              <a:off x="2817927" y="3777408"/>
              <a:ext cx="5891433" cy="14773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Внедрение системы стимулирования внутреннего туризма посредством </a:t>
              </a:r>
              <a:r>
                <a:rPr lang="ru-RU" sz="1600" b="1" dirty="0" err="1">
                  <a:solidFill>
                    <a:srgbClr val="000000"/>
                  </a:solidFill>
                  <a:latin typeface="Arial"/>
                </a:rPr>
                <a:t>турсертификатов</a:t>
              </a:r>
              <a:endParaRPr lang="ru-RU" sz="1600" b="1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Исключение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НДС</a:t>
              </a: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 из оборотов 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гостиниц </a:t>
              </a: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для 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иностранных граждан </a:t>
              </a: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Субсидирование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расходов </a:t>
              </a: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на коммунальные услуги </a:t>
              </a: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в курортных </a:t>
              </a:r>
              <a:r>
                <a:rPr lang="ru-RU" sz="1600" dirty="0" smtClean="0">
                  <a:solidFill>
                    <a:srgbClr val="000000"/>
                  </a:solidFill>
                  <a:latin typeface="Arial"/>
                </a:rPr>
                <a:t>зонах</a:t>
              </a: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8892F4FB-C970-4A32-94C8-27191BB09C3A}"/>
                </a:ext>
              </a:extLst>
            </p:cNvPr>
            <p:cNvSpPr txBox="1"/>
            <p:nvPr/>
          </p:nvSpPr>
          <p:spPr>
            <a:xfrm>
              <a:off x="2830288" y="1142042"/>
              <a:ext cx="5879075" cy="5119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Открытие </a:t>
              </a:r>
              <a:r>
                <a:rPr lang="ru-RU" sz="1632" b="1" dirty="0" smtClean="0">
                  <a:solidFill>
                    <a:srgbClr val="000000"/>
                  </a:solidFill>
                  <a:latin typeface="Arial"/>
                </a:rPr>
                <a:t>Международного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университета туризма и гостеприимства</a:t>
              </a:r>
            </a:p>
          </p:txBody>
        </p:sp>
        <p:sp>
          <p:nvSpPr>
            <p:cNvPr id="9" name="Rectangle 8"/>
            <p:cNvSpPr>
              <a:spLocks/>
            </p:cNvSpPr>
            <p:nvPr/>
          </p:nvSpPr>
          <p:spPr>
            <a:xfrm>
              <a:off x="119063" y="1142042"/>
              <a:ext cx="2624137" cy="9308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73472" tIns="73472" rIns="73472" bIns="73472" anchor="ctr" anchorCtr="0">
              <a:no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ru-RU" sz="1632" b="1" dirty="0">
                  <a:solidFill>
                    <a:srgbClr val="FFFFFF"/>
                  </a:solidFill>
                  <a:latin typeface="Arial" charset="0"/>
                </a:rPr>
                <a:t>Развитие человеческих ресурсов</a:t>
              </a:r>
              <a:endParaRPr lang="en-US" sz="1632" b="1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8" name="Rectangle 11"/>
            <p:cNvSpPr>
              <a:spLocks/>
            </p:cNvSpPr>
            <p:nvPr/>
          </p:nvSpPr>
          <p:spPr>
            <a:xfrm>
              <a:off x="119063" y="5368307"/>
              <a:ext cx="2624137" cy="9308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73472" tIns="73472" rIns="73472" bIns="73472" anchor="ctr" anchorCtr="0">
              <a:no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ru-RU" sz="1632" b="1" dirty="0">
                  <a:solidFill>
                    <a:srgbClr val="FFFFFF"/>
                  </a:solidFill>
                  <a:latin typeface="Arial" charset="0"/>
                </a:rPr>
                <a:t>Повышение цифровой доступности туристских услуг</a:t>
              </a:r>
              <a:endParaRPr lang="en-US" sz="1632" b="1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67FB52A4-3A9C-4FF6-8A3F-6426692745AB}"/>
                </a:ext>
              </a:extLst>
            </p:cNvPr>
            <p:cNvSpPr txBox="1"/>
            <p:nvPr/>
          </p:nvSpPr>
          <p:spPr>
            <a:xfrm>
              <a:off x="2816826" y="5368307"/>
              <a:ext cx="5879076" cy="76795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Создание единой цифровой платформы 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e-</a:t>
              </a:r>
              <a:r>
                <a:rPr lang="ru-RU" sz="1632" b="1" dirty="0" err="1">
                  <a:solidFill>
                    <a:srgbClr val="000000"/>
                  </a:solidFill>
                  <a:latin typeface="Arial"/>
                </a:rPr>
                <a:t>Tourism</a:t>
              </a:r>
              <a:endParaRPr lang="ru-RU" sz="1632" b="1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Внедрение элементов </a:t>
              </a:r>
              <a:r>
                <a:rPr lang="ru-RU" sz="1632" b="1" dirty="0" err="1">
                  <a:solidFill>
                    <a:srgbClr val="000000"/>
                  </a:solidFill>
                  <a:latin typeface="Arial"/>
                </a:rPr>
                <a:t>геймификации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sz="1632" dirty="0" err="1">
                  <a:solidFill>
                    <a:srgbClr val="000000"/>
                  </a:solidFill>
                  <a:latin typeface="Arial"/>
                </a:rPr>
                <a:t>туробъектов</a:t>
              </a:r>
              <a:endParaRPr lang="ru-RU" sz="1632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Обеспечение</a:t>
              </a:r>
              <a:r>
                <a:rPr lang="ru-RU" sz="1632" b="1" dirty="0">
                  <a:solidFill>
                    <a:srgbClr val="000000"/>
                  </a:solidFill>
                  <a:latin typeface="Arial"/>
                </a:rPr>
                <a:t> интернетом </a:t>
              </a:r>
              <a:r>
                <a:rPr lang="ru-RU" sz="1632" dirty="0">
                  <a:solidFill>
                    <a:srgbClr val="000000"/>
                  </a:solidFill>
                  <a:latin typeface="Arial"/>
                </a:rPr>
                <a:t>в курортных зонах ТОП-10 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64092D73-27B7-45C0-B92B-E448BA495F61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3720622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xmlns="" id="{CB21D101-391E-4BAE-BBA2-EADFE56F42E6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2129722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40C476F5-FBD3-4B64-A80A-37F84BE6F614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5311522"/>
              <a:ext cx="8560318" cy="0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8560135" y="6453337"/>
            <a:ext cx="583865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7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9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4078" y="375628"/>
            <a:ext cx="8062332" cy="677108"/>
          </a:xfrm>
        </p:spPr>
        <p:txBody>
          <a:bodyPr/>
          <a:lstStyle/>
          <a:p>
            <a:pPr algn="ctr"/>
            <a:r>
              <a:rPr lang="ru-RU" sz="2200" dirty="0">
                <a:solidFill>
                  <a:schemeClr val="accent4"/>
                </a:solidFill>
              </a:rPr>
              <a:t>Ключевые показатели </a:t>
            </a:r>
            <a:r>
              <a:rPr lang="ru-RU" sz="2200" dirty="0" smtClean="0">
                <a:solidFill>
                  <a:schemeClr val="accent4"/>
                </a:solidFill>
              </a:rPr>
              <a:t>Государственной программы развития туризма Республики Казахстан до 2023 </a:t>
            </a:r>
            <a:endParaRPr lang="ru-RU" sz="2200" dirty="0">
              <a:solidFill>
                <a:schemeClr val="accent4"/>
              </a:solidFill>
            </a:endParaRPr>
          </a:p>
        </p:txBody>
      </p:sp>
      <p:sp>
        <p:nvSpPr>
          <p:cNvPr id="4" name="Rectangle 166"/>
          <p:cNvSpPr/>
          <p:nvPr/>
        </p:nvSpPr>
        <p:spPr>
          <a:xfrm>
            <a:off x="808984" y="1333526"/>
            <a:ext cx="7526711" cy="808087"/>
          </a:xfrm>
          <a:prstGeom prst="rect">
            <a:avLst/>
          </a:prstGeom>
          <a:solidFill>
            <a:srgbClr val="C6E1FE"/>
          </a:solidFill>
        </p:spPr>
        <p:txBody>
          <a:bodyPr wrap="square" anchor="ctr">
            <a:no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Рост доли туризма в ВВП до 8</a:t>
            </a:r>
            <a:r>
              <a:rPr lang="ru-RU" sz="1632" b="1" dirty="0" smtClean="0">
                <a:solidFill>
                  <a:srgbClr val="000000"/>
                </a:solidFill>
                <a:latin typeface="Arial" charset="0"/>
              </a:rPr>
              <a:t>% к 2023 году</a:t>
            </a:r>
            <a:endParaRPr lang="ru-RU" sz="1632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66"/>
          <p:cNvSpPr/>
          <p:nvPr/>
        </p:nvSpPr>
        <p:spPr>
          <a:xfrm>
            <a:off x="808984" y="3148990"/>
            <a:ext cx="7526711" cy="808087"/>
          </a:xfrm>
          <a:prstGeom prst="rect">
            <a:avLst/>
          </a:prstGeom>
          <a:solidFill>
            <a:srgbClr val="C6E1FE"/>
          </a:solidFill>
        </p:spPr>
        <p:txBody>
          <a:bodyPr wrap="square" anchor="ctr">
            <a:no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Рост внешнего </a:t>
            </a:r>
            <a:r>
              <a:rPr lang="ru-RU" sz="1632" b="1" dirty="0" smtClean="0">
                <a:solidFill>
                  <a:srgbClr val="000000"/>
                </a:solidFill>
                <a:latin typeface="Arial" charset="0"/>
              </a:rPr>
              <a:t>туристского </a:t>
            </a: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потока с текущих 6,5 до 9 млн посетителей* или с 2,1 до 3 миллионов въездных туристов**</a:t>
            </a:r>
          </a:p>
        </p:txBody>
      </p:sp>
      <p:sp>
        <p:nvSpPr>
          <p:cNvPr id="6" name="Rectangle 166"/>
          <p:cNvSpPr/>
          <p:nvPr/>
        </p:nvSpPr>
        <p:spPr>
          <a:xfrm>
            <a:off x="808984" y="4052445"/>
            <a:ext cx="7526711" cy="808087"/>
          </a:xfrm>
          <a:prstGeom prst="rect">
            <a:avLst/>
          </a:prstGeom>
          <a:solidFill>
            <a:srgbClr val="C6E1FE"/>
          </a:solidFill>
        </p:spPr>
        <p:txBody>
          <a:bodyPr wrap="square" anchor="ctr">
            <a:no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Рост числа внутренних туристов с текущих 4,6 до 7 миллионов  </a:t>
            </a:r>
          </a:p>
        </p:txBody>
      </p:sp>
      <p:sp>
        <p:nvSpPr>
          <p:cNvPr id="7" name="Rectangle 166"/>
          <p:cNvSpPr/>
          <p:nvPr>
            <p:custDataLst>
              <p:tags r:id="rId1"/>
            </p:custDataLst>
          </p:nvPr>
        </p:nvSpPr>
        <p:spPr>
          <a:xfrm>
            <a:off x="808984" y="4976866"/>
            <a:ext cx="7526711" cy="808087"/>
          </a:xfrm>
          <a:prstGeom prst="rect">
            <a:avLst/>
          </a:prstGeom>
          <a:solidFill>
            <a:srgbClr val="C6E1FE"/>
          </a:solidFill>
        </p:spPr>
        <p:txBody>
          <a:bodyPr wrap="square" anchor="ctr">
            <a:no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Казахстан войдёт в число ТОП-50 стран в рейтинге конкурентоспособности туризма и путешествий по методологии Всемирного Экономического Форума   </a:t>
            </a:r>
          </a:p>
        </p:txBody>
      </p:sp>
      <p:sp>
        <p:nvSpPr>
          <p:cNvPr id="8" name="Oval 5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55416" y="1604825"/>
            <a:ext cx="271246" cy="29385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82120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22" b="1" dirty="0">
                <a:solidFill>
                  <a:srgbClr val="FFFFFF"/>
                </a:solidFill>
                <a:latin typeface="Arial" charset="0"/>
              </a:rPr>
              <a:t>1</a:t>
            </a:r>
            <a:endParaRPr lang="en-US" sz="1122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Rectangle 166"/>
          <p:cNvSpPr/>
          <p:nvPr/>
        </p:nvSpPr>
        <p:spPr>
          <a:xfrm>
            <a:off x="808983" y="2240805"/>
            <a:ext cx="7526711" cy="808087"/>
          </a:xfrm>
          <a:prstGeom prst="rect">
            <a:avLst/>
          </a:prstGeom>
          <a:solidFill>
            <a:srgbClr val="C6E1FE"/>
          </a:solidFill>
        </p:spPr>
        <p:txBody>
          <a:bodyPr wrap="square" anchor="ctr">
            <a:no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Рост числа занятых в туристической отрасли (по 14 </a:t>
            </a:r>
            <a:r>
              <a:rPr lang="ru-RU" sz="1632" b="1" dirty="0" smtClean="0">
                <a:solidFill>
                  <a:srgbClr val="000000"/>
                </a:solidFill>
                <a:latin typeface="Arial" charset="0"/>
              </a:rPr>
              <a:t>видам экономической деятельности согласно общему классификатору ОКЭД</a:t>
            </a: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) – </a:t>
            </a:r>
            <a:r>
              <a:rPr lang="ru-RU" sz="1632" b="1" dirty="0" smtClean="0">
                <a:solidFill>
                  <a:srgbClr val="000000"/>
                </a:solidFill>
                <a:latin typeface="Arial" charset="0"/>
              </a:rPr>
              <a:t>с </a:t>
            </a: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400 до 650 </a:t>
            </a:r>
            <a:r>
              <a:rPr lang="ru-RU" sz="1632" b="1" dirty="0" smtClean="0">
                <a:solidFill>
                  <a:srgbClr val="000000"/>
                </a:solidFill>
                <a:latin typeface="Arial" charset="0"/>
              </a:rPr>
              <a:t>тысяч </a:t>
            </a:r>
            <a:r>
              <a:rPr lang="ru-RU" sz="1632" b="1" dirty="0">
                <a:solidFill>
                  <a:srgbClr val="000000"/>
                </a:solidFill>
                <a:latin typeface="Arial" charset="0"/>
              </a:rPr>
              <a:t>человек</a:t>
            </a:r>
          </a:p>
        </p:txBody>
      </p:sp>
      <p:sp>
        <p:nvSpPr>
          <p:cNvPr id="9" name="Oval 5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5416" y="2498376"/>
            <a:ext cx="271246" cy="29385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82120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22" b="1" dirty="0">
                <a:solidFill>
                  <a:srgbClr val="FFFFFF"/>
                </a:solidFill>
                <a:latin typeface="Arial" charset="0"/>
              </a:rPr>
              <a:t>2</a:t>
            </a:r>
          </a:p>
        </p:txBody>
      </p:sp>
      <p:sp>
        <p:nvSpPr>
          <p:cNvPr id="10" name="Oval 5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5416" y="3410091"/>
            <a:ext cx="271246" cy="29385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82120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22" b="1" dirty="0">
                <a:solidFill>
                  <a:srgbClr val="FFFFFF"/>
                </a:solidFill>
                <a:latin typeface="Arial" charset="0"/>
              </a:rPr>
              <a:t>3</a:t>
            </a:r>
          </a:p>
        </p:txBody>
      </p:sp>
      <p:sp>
        <p:nvSpPr>
          <p:cNvPr id="11" name="Oval 5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416" y="4307299"/>
            <a:ext cx="271246" cy="29385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82120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22" b="1" dirty="0">
                <a:solidFill>
                  <a:srgbClr val="FFFFFF"/>
                </a:solidFill>
                <a:latin typeface="Arial" charset="0"/>
              </a:rPr>
              <a:t>4</a:t>
            </a:r>
          </a:p>
        </p:txBody>
      </p:sp>
      <p:sp>
        <p:nvSpPr>
          <p:cNvPr id="13" name="Oval 5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5416" y="5233983"/>
            <a:ext cx="271246" cy="29385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82120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22" b="1" dirty="0">
                <a:solidFill>
                  <a:srgbClr val="FFFFFF"/>
                </a:solidFill>
                <a:latin typeface="Arial" charset="0"/>
              </a:rPr>
              <a:t>5</a:t>
            </a:r>
            <a:endParaRPr lang="en-US" sz="1122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79346" y="5983256"/>
            <a:ext cx="7756349" cy="766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22" dirty="0">
                <a:solidFill>
                  <a:srgbClr val="000000"/>
                </a:solidFill>
                <a:latin typeface="Arial" charset="0"/>
              </a:rPr>
              <a:t>* посетитель – иностранный гражданин, пересёкший </a:t>
            </a:r>
            <a:r>
              <a:rPr lang="ru-RU" sz="1122" dirty="0" smtClean="0">
                <a:solidFill>
                  <a:srgbClr val="000000"/>
                </a:solidFill>
                <a:latin typeface="Arial" charset="0"/>
              </a:rPr>
              <a:t>границу;</a:t>
            </a:r>
            <a:endParaRPr lang="ru-RU" sz="1122" dirty="0">
              <a:solidFill>
                <a:srgbClr val="000000"/>
              </a:solidFill>
              <a:latin typeface="Arial" charset="0"/>
            </a:endParaRPr>
          </a:p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22" dirty="0">
                <a:solidFill>
                  <a:srgbClr val="000000"/>
                </a:solidFill>
                <a:latin typeface="Arial" charset="0"/>
              </a:rPr>
              <a:t>** въездной турист – иностранный гражданин, проведший </a:t>
            </a:r>
            <a:r>
              <a:rPr lang="en-US" sz="1122" dirty="0">
                <a:solidFill>
                  <a:srgbClr val="000000"/>
                </a:solidFill>
                <a:latin typeface="Arial" charset="0"/>
              </a:rPr>
              <a:t>&gt;24 </a:t>
            </a:r>
            <a:r>
              <a:rPr lang="ru-RU" sz="1122" dirty="0">
                <a:solidFill>
                  <a:srgbClr val="000000"/>
                </a:solidFill>
                <a:latin typeface="Arial" charset="0"/>
              </a:rPr>
              <a:t>часов, </a:t>
            </a:r>
          </a:p>
          <a:p>
            <a:pPr marL="366058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22" dirty="0">
                <a:solidFill>
                  <a:srgbClr val="000000"/>
                </a:solidFill>
                <a:latin typeface="Arial" charset="0"/>
              </a:rPr>
              <a:t>не связанный с </a:t>
            </a:r>
            <a:r>
              <a:rPr lang="ru-RU" sz="1122" dirty="0" smtClean="0">
                <a:solidFill>
                  <a:srgbClr val="000000"/>
                </a:solidFill>
                <a:latin typeface="Arial" charset="0"/>
              </a:rPr>
              <a:t>профессиональной деятельностью </a:t>
            </a:r>
            <a:r>
              <a:rPr lang="ru-RU" sz="1122" dirty="0">
                <a:solidFill>
                  <a:srgbClr val="000000"/>
                </a:solidFill>
                <a:latin typeface="Arial" charset="0"/>
              </a:rPr>
              <a:t>на территории </a:t>
            </a:r>
            <a:r>
              <a:rPr lang="ru-RU" sz="1122" dirty="0" smtClean="0">
                <a:solidFill>
                  <a:srgbClr val="000000"/>
                </a:solidFill>
                <a:latin typeface="Arial" charset="0"/>
              </a:rPr>
              <a:t>Казахстана. </a:t>
            </a:r>
            <a:endParaRPr lang="ru-RU" sz="1122" dirty="0">
              <a:solidFill>
                <a:srgbClr val="000000"/>
              </a:solidFill>
              <a:latin typeface="Arial" charset="0"/>
            </a:endParaRPr>
          </a:p>
          <a:p>
            <a:pPr marL="540989" indent="-174930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918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493667" y="6453337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kk-KZ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8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6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13438" y="4509120"/>
            <a:ext cx="7317121" cy="20005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altLang="ru-RU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alt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им   из   перспективных   источников   для   любого региона  является  </a:t>
            </a:r>
            <a:r>
              <a:rPr lang="ru-RU" altLang="ru-RU" sz="16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 въездного  и  внутреннего туризма, </a:t>
            </a:r>
            <a:r>
              <a:rPr lang="ru-RU" alt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ющего сегодня </a:t>
            </a:r>
            <a:r>
              <a:rPr lang="ru-RU" altLang="ru-RU" sz="16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е десятое рабочее место </a:t>
            </a:r>
            <a:r>
              <a:rPr lang="ru-RU" alt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ре.</a:t>
            </a:r>
            <a:r>
              <a:rPr lang="ru-RU" alt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357188" algn="just"/>
            <a:r>
              <a:rPr lang="ru-RU" alt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у </a:t>
            </a:r>
            <a:r>
              <a:rPr lang="ru-RU" altLang="ru-RU" sz="16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вою очередь надо принять </a:t>
            </a:r>
            <a:r>
              <a:rPr lang="ru-RU" altLang="ru-RU" sz="1600" b="1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 мер,  включая  упрощение  визовых  процедур,  развитие инфраструктуры    и    снятие    барьеров    в    отрасли туризма</a:t>
            </a:r>
            <a:r>
              <a:rPr lang="ru-RU" altLang="ru-RU" sz="1600" b="1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indent="800100" algn="r"/>
            <a:endParaRPr lang="ru-RU" sz="1400" i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800100" algn="r"/>
            <a:r>
              <a:rPr lang="ru-RU" sz="14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января 2018 года</a:t>
            </a:r>
            <a:endParaRPr lang="ru-RU" sz="1400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0" y="180302"/>
            <a:ext cx="9144000" cy="80042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465" tIns="40232" rIns="80465" bIns="40232" numCol="1" spcCol="0" rtlCol="0" fromWordArt="0" anchor="ctr" anchorCtr="0" forceAA="0" compatLnSpc="1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 u="sng" ker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rgbClr val="002060"/>
                </a:solidFill>
                <a:latin typeface="Arial" panose="020B0604020202020204" pitchFamily="34" charset="0"/>
                <a:ea typeface="Rix고딕 L" panose="02020603020101020101" pitchFamily="18" charset="-127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Послание Главы государства народу Казахстана:</a:t>
            </a:r>
          </a:p>
          <a:p>
            <a:pPr algn="ctr"/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«Новые возможности развития в условиях четвертой промышленной революции»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93667" y="6525345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   1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25602" name="Picture 2" descr="C:\Users\b.akshalov\Desktop\111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313" y="1268760"/>
            <a:ext cx="5723373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953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439" y="265266"/>
          <a:ext cx="1494" cy="1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3439" y="265266"/>
                        <a:ext cx="1494" cy="14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078" y="160028"/>
            <a:ext cx="8062332" cy="3166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dirty="0" smtClean="0"/>
              <a:t>Сопровождение Госпрограммы </a:t>
            </a:r>
            <a:br>
              <a:rPr lang="ru" dirty="0" smtClean="0"/>
            </a:br>
            <a:r>
              <a:rPr lang="ru" dirty="0" smtClean="0"/>
              <a:t>финансовой и законодательной базой</a:t>
            </a:r>
            <a:endParaRPr lang="en-US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 flipV="1">
            <a:off x="7243494" y="1772010"/>
            <a:ext cx="34405" cy="4520202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>
            <a:spLocks/>
          </p:cNvSpPr>
          <p:nvPr/>
        </p:nvSpPr>
        <p:spPr>
          <a:xfrm>
            <a:off x="7337023" y="1451261"/>
            <a:ext cx="1023014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square" lIns="33906" tIns="0" rIns="33906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en-US" sz="1318" i="1" dirty="0">
                <a:solidFill>
                  <a:srgbClr val="000000"/>
                </a:solidFill>
                <a:latin typeface="Arial"/>
              </a:rPr>
              <a:t>II</a:t>
            </a:r>
            <a:r>
              <a:rPr lang="ru-RU" sz="1318" i="1" dirty="0">
                <a:solidFill>
                  <a:srgbClr val="000000"/>
                </a:solidFill>
                <a:latin typeface="Arial"/>
              </a:rPr>
              <a:t> полугодие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TextBox 124"/>
          <p:cNvSpPr txBox="1">
            <a:spLocks/>
          </p:cNvSpPr>
          <p:nvPr/>
        </p:nvSpPr>
        <p:spPr>
          <a:xfrm>
            <a:off x="1770934" y="1451261"/>
            <a:ext cx="884083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none" lIns="33906" tIns="0" rIns="33906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i="1" dirty="0">
                <a:solidFill>
                  <a:srgbClr val="000000"/>
                </a:solidFill>
                <a:latin typeface="Arial"/>
              </a:rPr>
              <a:t>Сентябрь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6" name="TextBox 125"/>
          <p:cNvSpPr txBox="1">
            <a:spLocks/>
          </p:cNvSpPr>
          <p:nvPr/>
        </p:nvSpPr>
        <p:spPr>
          <a:xfrm>
            <a:off x="4151876" y="1451261"/>
            <a:ext cx="648248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none" lIns="33906" tIns="0" rIns="33906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i="1" dirty="0">
                <a:solidFill>
                  <a:srgbClr val="000000"/>
                </a:solidFill>
                <a:latin typeface="Arial"/>
              </a:rPr>
              <a:t>Ноябрь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8" name="TextBox 127"/>
          <p:cNvSpPr txBox="1">
            <a:spLocks/>
          </p:cNvSpPr>
          <p:nvPr/>
        </p:nvSpPr>
        <p:spPr>
          <a:xfrm>
            <a:off x="5311268" y="1451261"/>
            <a:ext cx="733721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none" lIns="33906" tIns="0" rIns="33906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i="1" dirty="0">
                <a:solidFill>
                  <a:srgbClr val="000000"/>
                </a:solidFill>
                <a:latin typeface="Arial"/>
              </a:rPr>
              <a:t>Декабрь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9" name="TextBox 128"/>
          <p:cNvSpPr txBox="1">
            <a:spLocks/>
          </p:cNvSpPr>
          <p:nvPr/>
        </p:nvSpPr>
        <p:spPr>
          <a:xfrm>
            <a:off x="3008214" y="1451261"/>
            <a:ext cx="788223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none" lIns="33906" tIns="0" rIns="33906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i="1" dirty="0">
                <a:solidFill>
                  <a:srgbClr val="000000"/>
                </a:solidFill>
                <a:latin typeface="Arial"/>
              </a:rPr>
              <a:t>Октябрь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0" name="TextBox 139"/>
          <p:cNvSpPr txBox="1">
            <a:spLocks/>
          </p:cNvSpPr>
          <p:nvPr/>
        </p:nvSpPr>
        <p:spPr>
          <a:xfrm>
            <a:off x="6279482" y="1451261"/>
            <a:ext cx="912559" cy="20281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en-US" sz="1318" i="1" dirty="0">
                <a:solidFill>
                  <a:srgbClr val="000000"/>
                </a:solidFill>
                <a:latin typeface="Arial"/>
              </a:rPr>
              <a:t>I</a:t>
            </a:r>
            <a:r>
              <a:rPr lang="ru-RU" sz="1318" i="1" dirty="0">
                <a:solidFill>
                  <a:srgbClr val="000000"/>
                </a:solidFill>
                <a:latin typeface="Arial"/>
              </a:rPr>
              <a:t> полугодие</a:t>
            </a:r>
            <a:endParaRPr lang="en-US" sz="1318" i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="" xmlns:a16="http://schemas.microsoft.com/office/drawing/2014/main" id="{88AC01B1-37FE-4AF0-8834-F04C79F5CC9F}"/>
              </a:ext>
            </a:extLst>
          </p:cNvPr>
          <p:cNvCxnSpPr>
            <a:cxnSpLocks/>
          </p:cNvCxnSpPr>
          <p:nvPr/>
        </p:nvCxnSpPr>
        <p:spPr>
          <a:xfrm>
            <a:off x="7305225" y="1198495"/>
            <a:ext cx="1099590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73ED36CF-BD24-4795-99E2-8D903427D6F6}"/>
              </a:ext>
            </a:extLst>
          </p:cNvPr>
          <p:cNvSpPr txBox="1"/>
          <p:nvPr/>
        </p:nvSpPr>
        <p:spPr>
          <a:xfrm>
            <a:off x="7470366" y="1077131"/>
            <a:ext cx="769308" cy="202812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3906" tIns="0" rIns="33906" bIns="0" rtlCol="0" anchor="t" anchorCtr="0">
            <a:sp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>
                <a:solidFill>
                  <a:srgbClr val="000000"/>
                </a:solidFill>
                <a:latin typeface="Arial"/>
              </a:rPr>
              <a:t>2019 год</a:t>
            </a:r>
            <a:endParaRPr lang="en-GB" sz="1318" b="1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="" xmlns:a16="http://schemas.microsoft.com/office/drawing/2014/main" id="{37BEB27A-51E4-4642-B44F-5E6ED7F39DDF}"/>
              </a:ext>
            </a:extLst>
          </p:cNvPr>
          <p:cNvCxnSpPr>
            <a:cxnSpLocks/>
          </p:cNvCxnSpPr>
          <p:nvPr/>
        </p:nvCxnSpPr>
        <p:spPr>
          <a:xfrm>
            <a:off x="1710726" y="1198495"/>
            <a:ext cx="5444742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1C464C5A-04B8-4DA9-AC64-204D0F99DD78}"/>
              </a:ext>
            </a:extLst>
          </p:cNvPr>
          <p:cNvSpPr txBox="1"/>
          <p:nvPr/>
        </p:nvSpPr>
        <p:spPr>
          <a:xfrm>
            <a:off x="4048443" y="1077131"/>
            <a:ext cx="769308" cy="202812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3906" tIns="0" rIns="33906" bIns="0" rtlCol="0" anchor="t" anchorCtr="0">
            <a:sp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2018 год</a:t>
            </a:r>
            <a:endParaRPr lang="en-GB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464078" y="3445874"/>
            <a:ext cx="1197809" cy="1172473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vert="horz" wrap="square" lIns="67811" tIns="67820" rIns="67811" bIns="67820" rtlCol="0" anchor="ctr" anchorCtr="0">
            <a:noAutofit/>
          </a:bodyPr>
          <a:lstStyle>
            <a:defPPr rtl="0">
              <a:defRPr lang="ru-RU"/>
            </a:defPPr>
            <a:lvl1pPr marL="0" lvl="0" indent="0" defTabSz="895350" eaLnBrk="1" latinLnBrk="0" hangingPunct="1">
              <a:buClr>
                <a:schemeClr val="bg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318" b="1" dirty="0" err="1">
                <a:solidFill>
                  <a:srgbClr val="FFFFFF"/>
                </a:solidFill>
                <a:latin typeface="Arial"/>
              </a:rPr>
              <a:t>Госпрограм-ма</a:t>
            </a:r>
            <a:r>
              <a:rPr lang="ru-RU" sz="1318" b="1" dirty="0">
                <a:solidFill>
                  <a:srgbClr val="FFFFFF"/>
                </a:solidFill>
                <a:latin typeface="Arial"/>
              </a:rPr>
              <a:t> по туризму</a:t>
            </a:r>
            <a:endParaRPr lang="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="" xmlns:a16="http://schemas.microsoft.com/office/drawing/2014/main" id="{D45AC4A9-ED1F-452E-9CF6-8208A341F7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13930" y="3445874"/>
            <a:ext cx="138714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  <a:gd name="connsiteX0" fmla="*/ 0 w 1828800"/>
              <a:gd name="connsiteY0" fmla="*/ 0 h 914400"/>
              <a:gd name="connsiteX1" fmla="*/ 1596204 w 1828800"/>
              <a:gd name="connsiteY1" fmla="*/ 0 h 914400"/>
              <a:gd name="connsiteX2" fmla="*/ 1828800 w 1828800"/>
              <a:gd name="connsiteY2" fmla="*/ 457200 h 914400"/>
              <a:gd name="connsiteX3" fmla="*/ 1596204 w 1828800"/>
              <a:gd name="connsiteY3" fmla="*/ 914400 h 914400"/>
              <a:gd name="connsiteX4" fmla="*/ 0 w 1828800"/>
              <a:gd name="connsiteY4" fmla="*/ 914400 h 914400"/>
              <a:gd name="connsiteX5" fmla="*/ 23259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6204" y="0"/>
                </a:lnTo>
                <a:lnTo>
                  <a:pt x="1828800" y="457200"/>
                </a:lnTo>
                <a:lnTo>
                  <a:pt x="1596204" y="914400"/>
                </a:lnTo>
                <a:lnTo>
                  <a:pt x="0" y="914400"/>
                </a:lnTo>
                <a:lnTo>
                  <a:pt x="232596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0D8FFFED-0E54-4C01-99FC-54649DBE36B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938198" y="3527296"/>
            <a:ext cx="986452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000000"/>
                </a:solidFill>
                <a:latin typeface="Arial"/>
              </a:rPr>
              <a:t>Согласо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" sz="1318" b="1" dirty="0">
                <a:solidFill>
                  <a:srgbClr val="000000"/>
                </a:solidFill>
                <a:latin typeface="Arial"/>
              </a:rPr>
              <a:t>вание</a:t>
            </a:r>
            <a:endParaRPr lang="ru-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="" xmlns:a16="http://schemas.microsoft.com/office/drawing/2014/main" id="{F98FCB32-C4F2-495B-9821-48533D2426C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10727" y="3445874"/>
            <a:ext cx="1177050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54688" y="0"/>
                </a:lnTo>
                <a:lnTo>
                  <a:pt x="1828800" y="457200"/>
                </a:lnTo>
                <a:lnTo>
                  <a:pt x="155468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9BE1E454-F738-4E5B-A5ED-BCD1903BF7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770533" y="3527296"/>
            <a:ext cx="1010505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000000"/>
                </a:solidFill>
                <a:latin typeface="Arial"/>
              </a:rPr>
              <a:t>Разработка</a:t>
            </a:r>
            <a:endParaRPr lang="ru-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="" xmlns:a16="http://schemas.microsoft.com/office/drawing/2014/main" id="{39E8BEA9-E7C8-4181-AD30-55BA419885C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21718" y="3445874"/>
            <a:ext cx="1370042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38305 w 1828800"/>
              <a:gd name="connsiteY5" fmla="*/ 457200 h 914400"/>
              <a:gd name="connsiteX0" fmla="*/ 0 w 1828800"/>
              <a:gd name="connsiteY0" fmla="*/ 0 h 914400"/>
              <a:gd name="connsiteX1" fmla="*/ 159049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38305 w 1828800"/>
              <a:gd name="connsiteY5" fmla="*/ 457200 h 914400"/>
              <a:gd name="connsiteX0" fmla="*/ 0 w 1828800"/>
              <a:gd name="connsiteY0" fmla="*/ 0 h 914400"/>
              <a:gd name="connsiteX1" fmla="*/ 1590494 w 1828800"/>
              <a:gd name="connsiteY1" fmla="*/ 0 h 914400"/>
              <a:gd name="connsiteX2" fmla="*/ 1828800 w 1828800"/>
              <a:gd name="connsiteY2" fmla="*/ 457200 h 914400"/>
              <a:gd name="connsiteX3" fmla="*/ 1590494 w 1828800"/>
              <a:gd name="connsiteY3" fmla="*/ 914400 h 914400"/>
              <a:gd name="connsiteX4" fmla="*/ 0 w 1828800"/>
              <a:gd name="connsiteY4" fmla="*/ 914400 h 914400"/>
              <a:gd name="connsiteX5" fmla="*/ 238305 w 1828800"/>
              <a:gd name="connsiteY5" fmla="*/ 457200 h 914400"/>
              <a:gd name="connsiteX0" fmla="*/ 0 w 1828800"/>
              <a:gd name="connsiteY0" fmla="*/ 0 h 914400"/>
              <a:gd name="connsiteX1" fmla="*/ 1590494 w 1828800"/>
              <a:gd name="connsiteY1" fmla="*/ 0 h 914400"/>
              <a:gd name="connsiteX2" fmla="*/ 1828800 w 1828800"/>
              <a:gd name="connsiteY2" fmla="*/ 457200 h 914400"/>
              <a:gd name="connsiteX3" fmla="*/ 1590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90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1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1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1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3301" y="0"/>
                </a:lnTo>
                <a:lnTo>
                  <a:pt x="1828800" y="457200"/>
                </a:lnTo>
                <a:lnTo>
                  <a:pt x="1593301" y="914400"/>
                </a:lnTo>
                <a:lnTo>
                  <a:pt x="0" y="914400"/>
                </a:lnTo>
                <a:lnTo>
                  <a:pt x="235501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26A0BBD0-DEB0-44E6-A3E3-3B53FEE2836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45988" y="3527296"/>
            <a:ext cx="969348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Внесение в </a:t>
            </a:r>
            <a:r>
              <a:rPr lang="ru-RU" sz="1318" b="1" dirty="0" err="1">
                <a:solidFill>
                  <a:srgbClr val="000000"/>
                </a:solidFill>
                <a:latin typeface="Arial"/>
              </a:rPr>
              <a:t>КПМ</a:t>
            </a:r>
            <a:endParaRPr lang="ru-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="" xmlns:a16="http://schemas.microsoft.com/office/drawing/2014/main" id="{AEC42E05-65FE-4C52-86F1-CBDC6157A4B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12403" y="3445874"/>
            <a:ext cx="134749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89360" y="0"/>
                </a:lnTo>
                <a:lnTo>
                  <a:pt x="1828800" y="457200"/>
                </a:lnTo>
                <a:lnTo>
                  <a:pt x="1589360" y="914400"/>
                </a:lnTo>
                <a:lnTo>
                  <a:pt x="0" y="914400"/>
                </a:lnTo>
                <a:lnTo>
                  <a:pt x="239441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A8602BFE-9A74-4775-9AB5-12B35313D2E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336673" y="3527296"/>
            <a:ext cx="946802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Внесение в АП</a:t>
            </a:r>
          </a:p>
        </p:txBody>
      </p:sp>
      <p:sp>
        <p:nvSpPr>
          <p:cNvPr id="107" name="Freeform: Shape 106">
            <a:extLst>
              <a:ext uri="{FF2B5EF4-FFF2-40B4-BE49-F238E27FC236}">
                <a16:creationId xmlns="" xmlns:a16="http://schemas.microsoft.com/office/drawing/2014/main" id="{50B12F07-AFD2-4788-8F7C-A85E92D23A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280541" y="3445874"/>
            <a:ext cx="982218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00315" y="0"/>
                </a:lnTo>
                <a:lnTo>
                  <a:pt x="1828800" y="457200"/>
                </a:lnTo>
                <a:lnTo>
                  <a:pt x="1500315" y="914400"/>
                </a:lnTo>
                <a:lnTo>
                  <a:pt x="0" y="914400"/>
                </a:lnTo>
                <a:lnTo>
                  <a:pt x="328485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3AC662AB-3FE7-446E-AE44-A66CB21B50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504809" y="3527296"/>
            <a:ext cx="58152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При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-RU" sz="1318" b="1" dirty="0" err="1">
                <a:solidFill>
                  <a:srgbClr val="000000"/>
                </a:solidFill>
                <a:latin typeface="Arial"/>
              </a:rPr>
              <a:t>нятие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318" b="1" dirty="0" err="1">
                <a:solidFill>
                  <a:srgbClr val="000000"/>
                </a:solidFill>
                <a:latin typeface="Arial"/>
              </a:rPr>
              <a:t>ГП</a:t>
            </a:r>
            <a:endParaRPr lang="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Freeform: Shape 135">
            <a:extLst>
              <a:ext uri="{FF2B5EF4-FFF2-40B4-BE49-F238E27FC236}">
                <a16:creationId xmlns="" xmlns:a16="http://schemas.microsoft.com/office/drawing/2014/main" id="{FE513EC0-10E4-4261-9A05-0AE94977017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305225" y="3445874"/>
            <a:ext cx="122118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64594" y="0"/>
                </a:lnTo>
                <a:lnTo>
                  <a:pt x="1828800" y="457200"/>
                </a:lnTo>
                <a:lnTo>
                  <a:pt x="1564594" y="914400"/>
                </a:lnTo>
                <a:lnTo>
                  <a:pt x="0" y="914400"/>
                </a:lnTo>
                <a:lnTo>
                  <a:pt x="264206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="" xmlns:a16="http://schemas.microsoft.com/office/drawing/2014/main" id="{552C8969-999A-43CC-879B-0D3C374C9E8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529494" y="3527296"/>
            <a:ext cx="820492" cy="1009629"/>
          </a:xfrm>
          <a:prstGeom prst="rect">
            <a:avLst/>
          </a:prstGeom>
          <a:solidFill>
            <a:schemeClr val="accent2"/>
          </a:solidFill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FFFFFF"/>
                </a:solidFill>
                <a:latin typeface="Arial"/>
              </a:rPr>
              <a:t>Реали</a:t>
            </a:r>
            <a:r>
              <a:rPr lang="pl-PL" sz="1318" b="1" dirty="0">
                <a:solidFill>
                  <a:srgbClr val="FFFFFF"/>
                </a:solidFill>
                <a:latin typeface="Arial"/>
              </a:rPr>
              <a:t>-</a:t>
            </a:r>
            <a:r>
              <a:rPr lang="ru" sz="1318" b="1" dirty="0">
                <a:solidFill>
                  <a:srgbClr val="FFFFFF"/>
                </a:solidFill>
                <a:latin typeface="Arial"/>
              </a:rPr>
              <a:t>зация</a:t>
            </a:r>
            <a:endParaRPr lang="ru-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="" xmlns:a16="http://schemas.microsoft.com/office/drawing/2014/main" id="{04EF6303-AD67-41C8-A244-3493A81CA43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927230" y="1772010"/>
            <a:ext cx="2529737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16302 w 1828800"/>
              <a:gd name="connsiteY5" fmla="*/ 457200 h 914400"/>
              <a:gd name="connsiteX0" fmla="*/ 0 w 1828800"/>
              <a:gd name="connsiteY0" fmla="*/ 0 h 914400"/>
              <a:gd name="connsiteX1" fmla="*/ 1712498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16302 w 1828800"/>
              <a:gd name="connsiteY5" fmla="*/ 457200 h 914400"/>
              <a:gd name="connsiteX0" fmla="*/ 0 w 1828800"/>
              <a:gd name="connsiteY0" fmla="*/ 0 h 914400"/>
              <a:gd name="connsiteX1" fmla="*/ 1712498 w 1828800"/>
              <a:gd name="connsiteY1" fmla="*/ 0 h 914400"/>
              <a:gd name="connsiteX2" fmla="*/ 1828800 w 1828800"/>
              <a:gd name="connsiteY2" fmla="*/ 457200 h 914400"/>
              <a:gd name="connsiteX3" fmla="*/ 1712498 w 1828800"/>
              <a:gd name="connsiteY3" fmla="*/ 914400 h 914400"/>
              <a:gd name="connsiteX4" fmla="*/ 0 w 1828800"/>
              <a:gd name="connsiteY4" fmla="*/ 914400 h 914400"/>
              <a:gd name="connsiteX5" fmla="*/ 116302 w 1828800"/>
              <a:gd name="connsiteY5" fmla="*/ 457200 h 914400"/>
              <a:gd name="connsiteX0" fmla="*/ 0 w 1828800"/>
              <a:gd name="connsiteY0" fmla="*/ 0 h 914400"/>
              <a:gd name="connsiteX1" fmla="*/ 1712498 w 1828800"/>
              <a:gd name="connsiteY1" fmla="*/ 0 h 914400"/>
              <a:gd name="connsiteX2" fmla="*/ 1828800 w 1828800"/>
              <a:gd name="connsiteY2" fmla="*/ 457200 h 914400"/>
              <a:gd name="connsiteX3" fmla="*/ 1712498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12498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126193 w 1828800"/>
              <a:gd name="connsiteY5" fmla="*/ 457200 h 914400"/>
              <a:gd name="connsiteX0" fmla="*/ 0 w 1828800"/>
              <a:gd name="connsiteY0" fmla="*/ 0 h 914400"/>
              <a:gd name="connsiteX1" fmla="*/ 1702607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1259 w 1828800"/>
              <a:gd name="connsiteY1" fmla="*/ 0 h 914400"/>
              <a:gd name="connsiteX2" fmla="*/ 1828800 w 1828800"/>
              <a:gd name="connsiteY2" fmla="*/ 457200 h 914400"/>
              <a:gd name="connsiteX3" fmla="*/ 170260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1259 w 1828800"/>
              <a:gd name="connsiteY1" fmla="*/ 0 h 914400"/>
              <a:gd name="connsiteX2" fmla="*/ 1828800 w 1828800"/>
              <a:gd name="connsiteY2" fmla="*/ 457200 h 914400"/>
              <a:gd name="connsiteX3" fmla="*/ 17012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1259 w 1828800"/>
              <a:gd name="connsiteY1" fmla="*/ 0 h 914400"/>
              <a:gd name="connsiteX2" fmla="*/ 1828800 w 1828800"/>
              <a:gd name="connsiteY2" fmla="*/ 457200 h 914400"/>
              <a:gd name="connsiteX3" fmla="*/ 1701259 w 1828800"/>
              <a:gd name="connsiteY3" fmla="*/ 914400 h 914400"/>
              <a:gd name="connsiteX4" fmla="*/ 0 w 1828800"/>
              <a:gd name="connsiteY4" fmla="*/ 914400 h 914400"/>
              <a:gd name="connsiteX5" fmla="*/ 127541 w 1828800"/>
              <a:gd name="connsiteY5" fmla="*/ 457200 h 914400"/>
              <a:gd name="connsiteX0" fmla="*/ 0 w 1828800"/>
              <a:gd name="connsiteY0" fmla="*/ 0 h 914400"/>
              <a:gd name="connsiteX1" fmla="*/ 1701259 w 1828800"/>
              <a:gd name="connsiteY1" fmla="*/ 0 h 914400"/>
              <a:gd name="connsiteX2" fmla="*/ 1828800 w 1828800"/>
              <a:gd name="connsiteY2" fmla="*/ 457200 h 914400"/>
              <a:gd name="connsiteX3" fmla="*/ 1701259 w 1828800"/>
              <a:gd name="connsiteY3" fmla="*/ 914400 h 914400"/>
              <a:gd name="connsiteX4" fmla="*/ 0 w 1828800"/>
              <a:gd name="connsiteY4" fmla="*/ 914400 h 914400"/>
              <a:gd name="connsiteX5" fmla="*/ 127541 w 1828800"/>
              <a:gd name="connsiteY5" fmla="*/ 457200 h 914400"/>
              <a:gd name="connsiteX0" fmla="*/ 0 w 1828800"/>
              <a:gd name="connsiteY0" fmla="*/ 0 h 914400"/>
              <a:gd name="connsiteX1" fmla="*/ 1701259 w 1828800"/>
              <a:gd name="connsiteY1" fmla="*/ 0 h 914400"/>
              <a:gd name="connsiteX2" fmla="*/ 1828800 w 1828800"/>
              <a:gd name="connsiteY2" fmla="*/ 457200 h 914400"/>
              <a:gd name="connsiteX3" fmla="*/ 1701259 w 1828800"/>
              <a:gd name="connsiteY3" fmla="*/ 914400 h 914400"/>
              <a:gd name="connsiteX4" fmla="*/ 0 w 1828800"/>
              <a:gd name="connsiteY4" fmla="*/ 914400 h 914400"/>
              <a:gd name="connsiteX5" fmla="*/ 127541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01259" y="0"/>
                </a:lnTo>
                <a:lnTo>
                  <a:pt x="1828800" y="457200"/>
                </a:lnTo>
                <a:lnTo>
                  <a:pt x="1701259" y="914400"/>
                </a:lnTo>
                <a:lnTo>
                  <a:pt x="0" y="914400"/>
                </a:lnTo>
                <a:lnTo>
                  <a:pt x="127541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6245229-EF55-4913-81EE-CDED97C58C9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151498" y="1853432"/>
            <a:ext cx="212904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000000"/>
                </a:solidFill>
                <a:latin typeface="Arial"/>
              </a:rPr>
              <a:t>Включение мер в ГП </a:t>
            </a:r>
            <a:r>
              <a:rPr lang="ru" sz="1318" i="1" dirty="0">
                <a:solidFill>
                  <a:srgbClr val="000000"/>
                </a:solidFill>
                <a:latin typeface="Arial"/>
              </a:rPr>
              <a:t>(необходимое</a:t>
            </a:r>
            <a:r>
              <a:rPr lang="pl-PL" sz="1318" i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" sz="1318" i="1" dirty="0">
                <a:solidFill>
                  <a:srgbClr val="000000"/>
                </a:solidFill>
                <a:latin typeface="Arial"/>
              </a:rPr>
              <a:t>финансиро</a:t>
            </a:r>
            <a:r>
              <a:rPr lang="pl-PL" sz="1318" i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" sz="1318" i="1" dirty="0">
                <a:solidFill>
                  <a:srgbClr val="000000"/>
                </a:solidFill>
                <a:latin typeface="Arial"/>
              </a:rPr>
              <a:t>вание, количество</a:t>
            </a:r>
            <a:r>
              <a:rPr lang="pl-PL" sz="1318" i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" sz="1318" i="1" dirty="0">
                <a:solidFill>
                  <a:srgbClr val="000000"/>
                </a:solidFill>
                <a:latin typeface="Arial"/>
              </a:rPr>
              <a:t>объек</a:t>
            </a:r>
            <a:r>
              <a:rPr lang="pl-PL" sz="1318" i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" sz="1318" i="1" dirty="0">
                <a:solidFill>
                  <a:srgbClr val="000000"/>
                </a:solidFill>
                <a:latin typeface="Arial"/>
              </a:rPr>
              <a:t>тов, инфраструктура)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="" xmlns:a16="http://schemas.microsoft.com/office/drawing/2014/main" id="{29F815E3-E738-4C23-B8D1-559887265DF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713929" y="1772010"/>
            <a:ext cx="1387578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  <a:gd name="connsiteX0" fmla="*/ 0 w 1828800"/>
              <a:gd name="connsiteY0" fmla="*/ 0 h 914400"/>
              <a:gd name="connsiteX1" fmla="*/ 1596277 w 1828800"/>
              <a:gd name="connsiteY1" fmla="*/ 0 h 914400"/>
              <a:gd name="connsiteX2" fmla="*/ 1828800 w 1828800"/>
              <a:gd name="connsiteY2" fmla="*/ 457200 h 914400"/>
              <a:gd name="connsiteX3" fmla="*/ 1596277 w 1828800"/>
              <a:gd name="connsiteY3" fmla="*/ 914400 h 914400"/>
              <a:gd name="connsiteX4" fmla="*/ 0 w 1828800"/>
              <a:gd name="connsiteY4" fmla="*/ 914400 h 914400"/>
              <a:gd name="connsiteX5" fmla="*/ 232523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6277" y="0"/>
                </a:lnTo>
                <a:lnTo>
                  <a:pt x="1828800" y="457200"/>
                </a:lnTo>
                <a:lnTo>
                  <a:pt x="1596277" y="914400"/>
                </a:lnTo>
                <a:lnTo>
                  <a:pt x="0" y="914400"/>
                </a:lnTo>
                <a:lnTo>
                  <a:pt x="232523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B074B5C-0FB0-46DF-A6CB-4066A3444FC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938199" y="1853432"/>
            <a:ext cx="98688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000000"/>
                </a:solidFill>
                <a:latin typeface="Arial"/>
              </a:rPr>
              <a:t>Разработка и презента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" sz="1318" b="1" dirty="0">
                <a:solidFill>
                  <a:srgbClr val="000000"/>
                </a:solidFill>
                <a:latin typeface="Arial"/>
              </a:rPr>
              <a:t>ция</a:t>
            </a:r>
            <a:endParaRPr lang="ru-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="" xmlns:a16="http://schemas.microsoft.com/office/drawing/2014/main" id="{BE00A399-A186-4427-9966-D27EF465A6A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710727" y="1772010"/>
            <a:ext cx="1177050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4067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40671 w 1828800"/>
              <a:gd name="connsiteY1" fmla="*/ 0 h 914400"/>
              <a:gd name="connsiteX2" fmla="*/ 1828800 w 1828800"/>
              <a:gd name="connsiteY2" fmla="*/ 457200 h 914400"/>
              <a:gd name="connsiteX3" fmla="*/ 1540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40671 w 1828800"/>
              <a:gd name="connsiteY1" fmla="*/ 0 h 914400"/>
              <a:gd name="connsiteX2" fmla="*/ 1828800 w 1828800"/>
              <a:gd name="connsiteY2" fmla="*/ 457200 h 914400"/>
              <a:gd name="connsiteX3" fmla="*/ 1540671 w 1828800"/>
              <a:gd name="connsiteY3" fmla="*/ 914400 h 914400"/>
              <a:gd name="connsiteX4" fmla="*/ 0 w 1828800"/>
              <a:gd name="connsiteY4" fmla="*/ 914400 h 914400"/>
              <a:gd name="connsiteX5" fmla="*/ 274112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40671 w 1828800"/>
              <a:gd name="connsiteY3" fmla="*/ 914400 h 914400"/>
              <a:gd name="connsiteX4" fmla="*/ 0 w 1828800"/>
              <a:gd name="connsiteY4" fmla="*/ 914400 h 914400"/>
              <a:gd name="connsiteX5" fmla="*/ 274112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274112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54688" y="0"/>
                </a:lnTo>
                <a:lnTo>
                  <a:pt x="1828800" y="457200"/>
                </a:lnTo>
                <a:lnTo>
                  <a:pt x="155468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F5E8BBDE-3396-4616-8A23-7B96939EA782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770533" y="1853432"/>
            <a:ext cx="1010507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000000"/>
                </a:solidFill>
                <a:latin typeface="Arial"/>
              </a:rPr>
              <a:t>Разработка</a:t>
            </a:r>
            <a:endParaRPr lang="ru-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Freeform: Shape 109">
            <a:extLst>
              <a:ext uri="{FF2B5EF4-FFF2-40B4-BE49-F238E27FC236}">
                <a16:creationId xmlns="" xmlns:a16="http://schemas.microsoft.com/office/drawing/2014/main" id="{D85F809B-0BF6-445A-86E9-CE486B81E42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305225" y="1772010"/>
            <a:ext cx="122118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64594" y="0"/>
                </a:lnTo>
                <a:lnTo>
                  <a:pt x="1828800" y="457200"/>
                </a:lnTo>
                <a:lnTo>
                  <a:pt x="1564594" y="914400"/>
                </a:lnTo>
                <a:lnTo>
                  <a:pt x="0" y="914400"/>
                </a:lnTo>
                <a:lnTo>
                  <a:pt x="264206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2A9B3E9B-30E0-4EC0-8696-B5744DF0C385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529494" y="1853432"/>
            <a:ext cx="820492" cy="1009629"/>
          </a:xfrm>
          <a:prstGeom prst="rect">
            <a:avLst/>
          </a:prstGeom>
          <a:solidFill>
            <a:schemeClr val="accent2"/>
          </a:solidFill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FFFFFF"/>
                </a:solidFill>
                <a:latin typeface="Arial"/>
              </a:rPr>
              <a:t>Реали</a:t>
            </a:r>
            <a:r>
              <a:rPr lang="pl-PL" sz="1318" b="1" dirty="0">
                <a:solidFill>
                  <a:srgbClr val="FFFFFF"/>
                </a:solidFill>
                <a:latin typeface="Arial"/>
              </a:rPr>
              <a:t>-</a:t>
            </a:r>
            <a:r>
              <a:rPr lang="ru" sz="1318" b="1" dirty="0">
                <a:solidFill>
                  <a:srgbClr val="FFFFFF"/>
                </a:solidFill>
                <a:latin typeface="Arial"/>
              </a:rPr>
              <a:t>зация</a:t>
            </a:r>
            <a:endParaRPr lang="ru-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7" name="Freeform: Shape 176">
            <a:extLst>
              <a:ext uri="{FF2B5EF4-FFF2-40B4-BE49-F238E27FC236}">
                <a16:creationId xmlns="" xmlns:a16="http://schemas.microsoft.com/office/drawing/2014/main" id="{D84DA800-D23E-4646-805B-4A8A4006D56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6280542" y="1772010"/>
            <a:ext cx="982218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20350 w 1828800"/>
              <a:gd name="connsiteY5" fmla="*/ 457200 h 914400"/>
              <a:gd name="connsiteX0" fmla="*/ 0 w 1828800"/>
              <a:gd name="connsiteY0" fmla="*/ 0 h 914400"/>
              <a:gd name="connsiteX1" fmla="*/ 1308450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308450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563857 w 1828800"/>
              <a:gd name="connsiteY5" fmla="*/ 457200 h 914400"/>
              <a:gd name="connsiteX0" fmla="*/ 0 w 1828800"/>
              <a:gd name="connsiteY0" fmla="*/ 0 h 914400"/>
              <a:gd name="connsiteX1" fmla="*/ 1264943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26494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7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00315" y="0"/>
                </a:lnTo>
                <a:lnTo>
                  <a:pt x="1828800" y="457200"/>
                </a:lnTo>
                <a:lnTo>
                  <a:pt x="1500315" y="914400"/>
                </a:lnTo>
                <a:lnTo>
                  <a:pt x="0" y="914400"/>
                </a:lnTo>
                <a:lnTo>
                  <a:pt x="328487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="" xmlns:a16="http://schemas.microsoft.com/office/drawing/2014/main" id="{956FABE1-69A9-4324-AB72-4F1F1D721201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6504811" y="1853432"/>
            <a:ext cx="58152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pl-PL" sz="2355" b="1" dirty="0">
                <a:solidFill>
                  <a:srgbClr val="000000"/>
                </a:solidFill>
                <a:latin typeface="Arial"/>
              </a:rPr>
              <a:t>+</a:t>
            </a:r>
            <a:endParaRPr lang="ru" sz="2355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464079" y="1772010"/>
            <a:ext cx="1197809" cy="1172473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txBody>
          <a:bodyPr vert="horz" wrap="square" lIns="67811" tIns="67820" rIns="67811" bIns="67820" rtlCol="0" anchor="ctr" anchorCtr="0">
            <a:noAutofit/>
          </a:bodyPr>
          <a:lstStyle>
            <a:defPPr rtl="0">
              <a:defRPr lang="ru-RU"/>
            </a:defPPr>
            <a:lvl1pPr marL="0" lvl="0" indent="0" defTabSz="895350" eaLnBrk="1" latinLnBrk="0" hangingPunct="1">
              <a:buClr>
                <a:schemeClr val="bg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318" b="1" dirty="0">
                <a:solidFill>
                  <a:srgbClr val="FFFFFF"/>
                </a:solidFill>
                <a:latin typeface="Arial"/>
              </a:rPr>
              <a:t>Мастер-планы </a:t>
            </a:r>
            <a:br>
              <a:rPr lang="ru-RU" sz="1318" b="1" dirty="0">
                <a:solidFill>
                  <a:srgbClr val="FFFFFF"/>
                </a:solidFill>
                <a:latin typeface="Arial"/>
              </a:rPr>
            </a:br>
            <a:r>
              <a:rPr lang="ru-RU" sz="1318" b="1" dirty="0">
                <a:solidFill>
                  <a:srgbClr val="FFFFFF"/>
                </a:solidFill>
                <a:latin typeface="Arial"/>
              </a:rPr>
              <a:t>ТОП-10</a:t>
            </a:r>
            <a:endParaRPr lang="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1" name="TextBox 150"/>
          <p:cNvSpPr txBox="1">
            <a:spLocks/>
          </p:cNvSpPr>
          <p:nvPr/>
        </p:nvSpPr>
        <p:spPr>
          <a:xfrm>
            <a:off x="464078" y="5119740"/>
            <a:ext cx="1197809" cy="1172473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wrap="square" lIns="67811" tIns="67820" rIns="67820" bIns="67820" rtlCol="0" anchor="ctr" anchorCtr="0">
            <a:noAutofit/>
          </a:bodyPr>
          <a:lstStyle>
            <a:defPPr rtl="0">
              <a:defRPr lang="ru-RU"/>
            </a:defPPr>
            <a:lvl1pPr marL="0" lvl="0" indent="0" defTabSz="895350" eaLnBrk="1" latinLnBrk="0" hangingPunct="1">
              <a:buClr>
                <a:schemeClr val="bg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318" b="1" dirty="0" err="1">
                <a:solidFill>
                  <a:srgbClr val="FFFFFF"/>
                </a:solidFill>
                <a:latin typeface="Arial"/>
              </a:rPr>
              <a:t>Законо</a:t>
            </a:r>
            <a:r>
              <a:rPr lang="ru-RU" sz="1318" b="1" dirty="0">
                <a:solidFill>
                  <a:srgbClr val="FFFFFF"/>
                </a:solidFill>
                <a:latin typeface="Arial"/>
              </a:rPr>
              <a:t>-проект по туризму</a:t>
            </a:r>
            <a:endParaRPr lang="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1" name="Freeform: Shape 230">
            <a:extLst>
              <a:ext uri="{FF2B5EF4-FFF2-40B4-BE49-F238E27FC236}">
                <a16:creationId xmlns="" xmlns:a16="http://schemas.microsoft.com/office/drawing/2014/main" id="{D29FBF51-59AE-45DC-BAA3-1B8B9C36439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305225" y="5119740"/>
            <a:ext cx="122118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11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375805 w 1828800"/>
              <a:gd name="connsiteY5" fmla="*/ 457200 h 914400"/>
              <a:gd name="connsiteX0" fmla="*/ 0 w 1828800"/>
              <a:gd name="connsiteY0" fmla="*/ 0 h 914400"/>
              <a:gd name="connsiteX1" fmla="*/ 1452992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452992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58848 w 1828800"/>
              <a:gd name="connsiteY5" fmla="*/ 457200 h 914400"/>
              <a:gd name="connsiteX0" fmla="*/ 0 w 1828800"/>
              <a:gd name="connsiteY0" fmla="*/ 0 h 914400"/>
              <a:gd name="connsiteX1" fmla="*/ 1569950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69950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94594 w 1828800"/>
              <a:gd name="connsiteY5" fmla="*/ 457200 h 914400"/>
              <a:gd name="connsiteX0" fmla="*/ 0 w 1828800"/>
              <a:gd name="connsiteY0" fmla="*/ 0 h 914400"/>
              <a:gd name="connsiteX1" fmla="*/ 1534205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34205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  <a:gd name="connsiteX0" fmla="*/ 0 w 1828800"/>
              <a:gd name="connsiteY0" fmla="*/ 0 h 914400"/>
              <a:gd name="connsiteX1" fmla="*/ 1564594 w 1828800"/>
              <a:gd name="connsiteY1" fmla="*/ 0 h 914400"/>
              <a:gd name="connsiteX2" fmla="*/ 1828800 w 1828800"/>
              <a:gd name="connsiteY2" fmla="*/ 457200 h 914400"/>
              <a:gd name="connsiteX3" fmla="*/ 1564594 w 1828800"/>
              <a:gd name="connsiteY3" fmla="*/ 914400 h 914400"/>
              <a:gd name="connsiteX4" fmla="*/ 0 w 1828800"/>
              <a:gd name="connsiteY4" fmla="*/ 914400 h 914400"/>
              <a:gd name="connsiteX5" fmla="*/ 26420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64594" y="0"/>
                </a:lnTo>
                <a:lnTo>
                  <a:pt x="1828800" y="457200"/>
                </a:lnTo>
                <a:lnTo>
                  <a:pt x="1564594" y="914400"/>
                </a:lnTo>
                <a:lnTo>
                  <a:pt x="0" y="914400"/>
                </a:lnTo>
                <a:lnTo>
                  <a:pt x="264206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="" xmlns:a16="http://schemas.microsoft.com/office/drawing/2014/main" id="{F3EA5DA9-106D-4B6A-B341-0B020E4503CE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529494" y="5201162"/>
            <a:ext cx="820492" cy="1009629"/>
          </a:xfrm>
          <a:prstGeom prst="rect">
            <a:avLst/>
          </a:prstGeom>
          <a:solidFill>
            <a:schemeClr val="accent2"/>
          </a:solidFill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" sz="1318" b="1" dirty="0">
                <a:solidFill>
                  <a:srgbClr val="FFFFFF"/>
                </a:solidFill>
                <a:latin typeface="Arial"/>
              </a:rPr>
              <a:t>Реали</a:t>
            </a:r>
            <a:r>
              <a:rPr lang="pl-PL" sz="1318" b="1" dirty="0">
                <a:solidFill>
                  <a:srgbClr val="FFFFFF"/>
                </a:solidFill>
                <a:latin typeface="Arial"/>
              </a:rPr>
              <a:t>-</a:t>
            </a:r>
            <a:r>
              <a:rPr lang="ru" sz="1318" b="1" dirty="0">
                <a:solidFill>
                  <a:srgbClr val="FFFFFF"/>
                </a:solidFill>
                <a:latin typeface="Arial"/>
              </a:rPr>
              <a:t>зация</a:t>
            </a:r>
            <a:endParaRPr lang="ru-RU" sz="1318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="" xmlns:a16="http://schemas.microsoft.com/office/drawing/2014/main" id="{881D1CD8-AEE0-437E-BFE1-445C9B2C6196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280541" y="5119740"/>
            <a:ext cx="982218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9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6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03129 w 1828800"/>
              <a:gd name="connsiteY5" fmla="*/ 457200 h 914400"/>
              <a:gd name="connsiteX0" fmla="*/ 0 w 1828800"/>
              <a:gd name="connsiteY0" fmla="*/ 0 h 914400"/>
              <a:gd name="connsiteX1" fmla="*/ 1525673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525673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362304 w 1828800"/>
              <a:gd name="connsiteY5" fmla="*/ 457200 h 914400"/>
              <a:gd name="connsiteX0" fmla="*/ 0 w 1828800"/>
              <a:gd name="connsiteY0" fmla="*/ 0 h 914400"/>
              <a:gd name="connsiteX1" fmla="*/ 1466498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6649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73098 w 1828800"/>
              <a:gd name="connsiteY5" fmla="*/ 457200 h 914400"/>
              <a:gd name="connsiteX0" fmla="*/ 0 w 1828800"/>
              <a:gd name="connsiteY0" fmla="*/ 0 h 914400"/>
              <a:gd name="connsiteX1" fmla="*/ 1455702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455702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  <a:gd name="connsiteX0" fmla="*/ 0 w 1828800"/>
              <a:gd name="connsiteY0" fmla="*/ 0 h 914400"/>
              <a:gd name="connsiteX1" fmla="*/ 1500315 w 1828800"/>
              <a:gd name="connsiteY1" fmla="*/ 0 h 914400"/>
              <a:gd name="connsiteX2" fmla="*/ 1828800 w 1828800"/>
              <a:gd name="connsiteY2" fmla="*/ 457200 h 914400"/>
              <a:gd name="connsiteX3" fmla="*/ 1500315 w 1828800"/>
              <a:gd name="connsiteY3" fmla="*/ 914400 h 914400"/>
              <a:gd name="connsiteX4" fmla="*/ 0 w 1828800"/>
              <a:gd name="connsiteY4" fmla="*/ 914400 h 914400"/>
              <a:gd name="connsiteX5" fmla="*/ 328485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00315" y="0"/>
                </a:lnTo>
                <a:lnTo>
                  <a:pt x="1828800" y="457200"/>
                </a:lnTo>
                <a:lnTo>
                  <a:pt x="1500315" y="914400"/>
                </a:lnTo>
                <a:lnTo>
                  <a:pt x="0" y="914400"/>
                </a:lnTo>
                <a:lnTo>
                  <a:pt x="328485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="" xmlns:a16="http://schemas.microsoft.com/office/drawing/2014/main" id="{8BA327FE-5173-4C3B-8AFF-DBCFFD937386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6504809" y="5201162"/>
            <a:ext cx="58152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При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-</a:t>
            </a:r>
            <a:r>
              <a:rPr lang="ru-RU" sz="1318" b="1" dirty="0" err="1">
                <a:solidFill>
                  <a:srgbClr val="000000"/>
                </a:solidFill>
                <a:latin typeface="Arial"/>
              </a:rPr>
              <a:t>нятие</a:t>
            </a:r>
            <a:r>
              <a:rPr lang="pl-PL" sz="1318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318" b="1" dirty="0">
                <a:solidFill>
                  <a:srgbClr val="000000"/>
                </a:solidFill>
                <a:latin typeface="Arial"/>
              </a:rPr>
              <a:t>Закона</a:t>
            </a:r>
            <a:endParaRPr lang="ru" sz="1318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="" xmlns:a16="http://schemas.microsoft.com/office/drawing/2014/main" id="{E2A9DC82-D40F-4213-8812-4CE02B2DCB55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12403" y="5119740"/>
            <a:ext cx="134749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54307 w 1828800"/>
              <a:gd name="connsiteY5" fmla="*/ 457200 h 914400"/>
              <a:gd name="connsiteX0" fmla="*/ 0 w 1828800"/>
              <a:gd name="connsiteY0" fmla="*/ 0 h 914400"/>
              <a:gd name="connsiteX1" fmla="*/ 1574493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74493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34459 w 1828800"/>
              <a:gd name="connsiteY5" fmla="*/ 457200 h 914400"/>
              <a:gd name="connsiteX0" fmla="*/ 0 w 1828800"/>
              <a:gd name="connsiteY0" fmla="*/ 0 h 914400"/>
              <a:gd name="connsiteX1" fmla="*/ 1594341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94341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66837 w 1828800"/>
              <a:gd name="connsiteY5" fmla="*/ 457200 h 914400"/>
              <a:gd name="connsiteX0" fmla="*/ 0 w 1828800"/>
              <a:gd name="connsiteY0" fmla="*/ 0 h 914400"/>
              <a:gd name="connsiteX1" fmla="*/ 1561964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561964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28608 w 1828800"/>
              <a:gd name="connsiteY5" fmla="*/ 457200 h 914400"/>
              <a:gd name="connsiteX0" fmla="*/ 0 w 1828800"/>
              <a:gd name="connsiteY0" fmla="*/ 0 h 914400"/>
              <a:gd name="connsiteX1" fmla="*/ 1600192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600192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248442 w 1828800"/>
              <a:gd name="connsiteY5" fmla="*/ 457200 h 914400"/>
              <a:gd name="connsiteX0" fmla="*/ 0 w 1828800"/>
              <a:gd name="connsiteY0" fmla="*/ 0 h 914400"/>
              <a:gd name="connsiteX1" fmla="*/ 1580359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8035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57972 w 1828800"/>
              <a:gd name="connsiteY5" fmla="*/ 457200 h 914400"/>
              <a:gd name="connsiteX0" fmla="*/ 0 w 1828800"/>
              <a:gd name="connsiteY0" fmla="*/ 0 h 914400"/>
              <a:gd name="connsiteX1" fmla="*/ 1570828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70828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235501 w 1828800"/>
              <a:gd name="connsiteY5" fmla="*/ 457200 h 914400"/>
              <a:gd name="connsiteX0" fmla="*/ 0 w 1828800"/>
              <a:gd name="connsiteY0" fmla="*/ 0 h 914400"/>
              <a:gd name="connsiteX1" fmla="*/ 1593301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9330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  <a:gd name="connsiteX0" fmla="*/ 0 w 1828800"/>
              <a:gd name="connsiteY0" fmla="*/ 0 h 914400"/>
              <a:gd name="connsiteX1" fmla="*/ 1589360 w 1828800"/>
              <a:gd name="connsiteY1" fmla="*/ 0 h 914400"/>
              <a:gd name="connsiteX2" fmla="*/ 1828800 w 1828800"/>
              <a:gd name="connsiteY2" fmla="*/ 457200 h 914400"/>
              <a:gd name="connsiteX3" fmla="*/ 1589360 w 1828800"/>
              <a:gd name="connsiteY3" fmla="*/ 914400 h 914400"/>
              <a:gd name="connsiteX4" fmla="*/ 0 w 1828800"/>
              <a:gd name="connsiteY4" fmla="*/ 914400 h 914400"/>
              <a:gd name="connsiteX5" fmla="*/ 239441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89360" y="0"/>
                </a:lnTo>
                <a:lnTo>
                  <a:pt x="1828800" y="457200"/>
                </a:lnTo>
                <a:lnTo>
                  <a:pt x="1589360" y="914400"/>
                </a:lnTo>
                <a:lnTo>
                  <a:pt x="0" y="914400"/>
                </a:lnTo>
                <a:lnTo>
                  <a:pt x="239441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="" xmlns:a16="http://schemas.microsoft.com/office/drawing/2014/main" id="{A88E1108-2FE7-4F83-B656-8FA77B2AB0F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5336673" y="5201162"/>
            <a:ext cx="946802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Внесение в Парламент</a:t>
            </a:r>
          </a:p>
        </p:txBody>
      </p:sp>
      <p:sp>
        <p:nvSpPr>
          <p:cNvPr id="240" name="Freeform: Shape 239">
            <a:extLst>
              <a:ext uri="{FF2B5EF4-FFF2-40B4-BE49-F238E27FC236}">
                <a16:creationId xmlns="" xmlns:a16="http://schemas.microsoft.com/office/drawing/2014/main" id="{4A2D7537-E9A2-4A8D-8FA0-78E22C429737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1710726" y="5119740"/>
            <a:ext cx="3610806" cy="117247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02190 w 1828800"/>
              <a:gd name="connsiteY5" fmla="*/ 457200 h 914400"/>
              <a:gd name="connsiteX0" fmla="*/ 0 w 1828800"/>
              <a:gd name="connsiteY0" fmla="*/ 0 h 914400"/>
              <a:gd name="connsiteX1" fmla="*/ 1726610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726610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153192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75608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756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166586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2214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6221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192469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633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3633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204309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24491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6244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261242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6755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6755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240852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794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8794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54688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554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89355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89355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89355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9445 w 1828800"/>
              <a:gd name="connsiteY1" fmla="*/ 0 h 914400"/>
              <a:gd name="connsiteX2" fmla="*/ 1828800 w 1828800"/>
              <a:gd name="connsiteY2" fmla="*/ 457200 h 914400"/>
              <a:gd name="connsiteX3" fmla="*/ 173944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9445" y="0"/>
                </a:lnTo>
                <a:lnTo>
                  <a:pt x="1828800" y="457200"/>
                </a:lnTo>
                <a:lnTo>
                  <a:pt x="1739445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61217" fontAlgn="base">
              <a:spcBef>
                <a:spcPct val="0"/>
              </a:spcBef>
              <a:spcAft>
                <a:spcPct val="0"/>
              </a:spcAft>
            </a:pPr>
            <a:endParaRPr lang="en-GB" sz="1318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1" name="TextBox 240">
            <a:extLst>
              <a:ext uri="{FF2B5EF4-FFF2-40B4-BE49-F238E27FC236}">
                <a16:creationId xmlns="" xmlns:a16="http://schemas.microsoft.com/office/drawing/2014/main" id="{DDAF76DD-FD49-48BF-B8C1-41B532EE6F8C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770533" y="5201162"/>
            <a:ext cx="3374574" cy="1009629"/>
          </a:xfrm>
          <a:prstGeom prst="rect">
            <a:avLst/>
          </a:prstGeom>
          <a:noFill/>
          <a:ln/>
        </p:spPr>
        <p:txBody>
          <a:bodyPr vert="horz" lIns="0" tIns="0" rIns="0" bIns="0" rtlCol="0" anchor="ctr">
            <a:noAutofit/>
          </a:bodyPr>
          <a:lstStyle>
            <a:lvl1pPr mar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Tx/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Tx/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Tx/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Tx/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843276" fontAlgn="base">
              <a:spcBef>
                <a:spcPct val="0"/>
              </a:spcBef>
              <a:spcAft>
                <a:spcPct val="0"/>
              </a:spcAft>
              <a:buClr>
                <a:srgbClr val="005481"/>
              </a:buClr>
            </a:pPr>
            <a:r>
              <a:rPr lang="ru-RU" sz="1318" b="1" dirty="0">
                <a:solidFill>
                  <a:srgbClr val="000000"/>
                </a:solidFill>
                <a:latin typeface="Arial"/>
              </a:rPr>
              <a:t>Разработка Законопроекта</a:t>
            </a:r>
          </a:p>
        </p:txBody>
      </p:sp>
      <p:sp>
        <p:nvSpPr>
          <p:cNvPr id="248" name="Arrow: Chevron 247">
            <a:extLst>
              <a:ext uri="{FF2B5EF4-FFF2-40B4-BE49-F238E27FC236}">
                <a16:creationId xmlns="" xmlns:a16="http://schemas.microsoft.com/office/drawing/2014/main" id="{38C961FA-A513-442A-95DB-86F43094B04E}"/>
              </a:ext>
            </a:extLst>
          </p:cNvPr>
          <p:cNvSpPr>
            <a:spLocks/>
          </p:cNvSpPr>
          <p:nvPr/>
        </p:nvSpPr>
        <p:spPr>
          <a:xfrm rot="5400000" flipV="1">
            <a:off x="952805" y="2856656"/>
            <a:ext cx="220362" cy="396018"/>
          </a:xfrm>
          <a:prstGeom prst="chevron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861217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ru-RU" sz="1506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0" name="Arrow: Chevron 259">
            <a:extLst>
              <a:ext uri="{FF2B5EF4-FFF2-40B4-BE49-F238E27FC236}">
                <a16:creationId xmlns="" xmlns:a16="http://schemas.microsoft.com/office/drawing/2014/main" id="{927C2B34-90D5-4B03-8312-BC71EFD1F5C7}"/>
              </a:ext>
            </a:extLst>
          </p:cNvPr>
          <p:cNvSpPr>
            <a:spLocks/>
          </p:cNvSpPr>
          <p:nvPr/>
        </p:nvSpPr>
        <p:spPr>
          <a:xfrm rot="5400000">
            <a:off x="952804" y="4530520"/>
            <a:ext cx="220362" cy="396018"/>
          </a:xfrm>
          <a:prstGeom prst="chevron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861217" fontAlgn="base">
              <a:spcBef>
                <a:spcPct val="0"/>
              </a:spcBef>
              <a:spcAft>
                <a:spcPct val="0"/>
              </a:spcAft>
            </a:pPr>
            <a:endParaRPr lang="en-GB" sz="1506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493667" y="6453337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kk-KZ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9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25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67544" y="2632556"/>
            <a:ext cx="35472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2000" b="1" dirty="0">
                <a:solidFill>
                  <a:srgbClr val="002060"/>
                </a:solidFill>
                <a:cs typeface="Arial" pitchFamily="34" charset="0"/>
              </a:rPr>
              <a:t>В МИРОВОЙ СТРУКТУРЕ ВВП</a:t>
            </a:r>
            <a:endParaRPr lang="ru-RU" sz="200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endParaRPr lang="ru-RU" altLang="ru-RU" sz="2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70814" y="1340768"/>
            <a:ext cx="370790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ТУРИЗМ СОЗДАЕТ КАЖДОЕ</a:t>
            </a:r>
          </a:p>
          <a:p>
            <a:pPr algn="ctr">
              <a:defRPr/>
            </a:pPr>
            <a:endParaRPr lang="ru-RU" altLang="ru-RU" sz="140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5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5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0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20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РАБОЧЕЕ МЕСТО В МИРЕ</a:t>
            </a:r>
            <a:endParaRPr lang="en-US" altLang="ru-RU" sz="2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272790" y="1468235"/>
            <a:ext cx="1972015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8000" b="1" dirty="0">
                <a:solidFill>
                  <a:srgbClr val="C00000"/>
                </a:solidFill>
                <a:cs typeface="Arial" pitchFamily="34" charset="0"/>
              </a:rPr>
              <a:t>10%</a:t>
            </a:r>
            <a:endParaRPr lang="ru-RU" sz="5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689450" y="1475766"/>
            <a:ext cx="2053767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altLang="ru-RU" sz="8000" b="1" dirty="0" smtClean="0">
                <a:solidFill>
                  <a:srgbClr val="C00000"/>
                </a:solidFill>
                <a:cs typeface="Arial" pitchFamily="34" charset="0"/>
              </a:rPr>
              <a:t>10-е</a:t>
            </a:r>
            <a:endParaRPr lang="ru-RU" altLang="ru-RU" sz="80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27584" y="1340768"/>
            <a:ext cx="28105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ТУРИЗМ </a:t>
            </a:r>
            <a:r>
              <a:rPr lang="ru-RU" altLang="ru-RU" sz="2000" b="1" dirty="0">
                <a:solidFill>
                  <a:srgbClr val="002060"/>
                </a:solidFill>
                <a:cs typeface="Arial" pitchFamily="34" charset="0"/>
              </a:rPr>
              <a:t>СОСТАВЛЯЕТ</a:t>
            </a:r>
            <a:endParaRPr lang="ru-RU" sz="20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305448" y="313493"/>
            <a:ext cx="65657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en-US" sz="2400" b="1" dirty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ТУРИЗМ – ДРАЙВЕР ГЛОБАЛЬНОЙ ЭКОНОМИКИ</a:t>
            </a:r>
            <a:endParaRPr lang="ru-RU" sz="2400" b="1" dirty="0">
              <a:ln>
                <a:solidFill>
                  <a:prstClr val="white">
                    <a:lumMod val="50000"/>
                    <a:alpha val="0"/>
                  </a:prstClr>
                </a:solidFill>
              </a:ln>
              <a:solidFill>
                <a:schemeClr val="tx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83271" y="4169112"/>
            <a:ext cx="302433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ИНВЕСТИЦИИ В ТУРИЗМ</a:t>
            </a:r>
          </a:p>
          <a:p>
            <a:pPr algn="ctr">
              <a:defRPr/>
            </a:pPr>
            <a:endParaRPr lang="ru-RU" altLang="ru-RU" sz="14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5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5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100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20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МЛРД.ДОЛЛ.США</a:t>
            </a:r>
            <a:endParaRPr lang="en-US" altLang="ru-RU" sz="2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400695" y="4337809"/>
            <a:ext cx="1742786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altLang="ru-RU" sz="8000" b="1" dirty="0" smtClean="0">
                <a:solidFill>
                  <a:srgbClr val="C00000"/>
                </a:solidFill>
                <a:cs typeface="Arial" pitchFamily="34" charset="0"/>
              </a:rPr>
              <a:t>800</a:t>
            </a:r>
            <a:endParaRPr lang="ru-RU" altLang="ru-RU" sz="8000" b="1" dirty="0">
              <a:solidFill>
                <a:srgbClr val="C00000"/>
              </a:solidFill>
              <a:cs typeface="Arial" pitchFamily="34" charset="0"/>
            </a:endParaRPr>
          </a:p>
        </p:txBody>
      </p:sp>
      <p:pic>
        <p:nvPicPr>
          <p:cNvPr id="15" name="Picture 2" descr="&amp;Kcy;&amp;acy;&amp;rcy;&amp;tcy;&amp;icy;&amp;ncy;&amp;kcy;&amp;icy; &amp;pcy;&amp;ocy; &amp;zcy;&amp;acy;&amp;pcy;&amp;rcy;&amp;ocy;&amp;scy;&amp;ucy; &amp;lcy;&amp;ocy;&amp;gcy;&amp;ocy;&amp;tcy;&amp;icy;&amp;pcy; &amp;YUcy;&amp;Ncy;&amp;Vcy;&amp;Tcy;&amp;Ocy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5892601"/>
            <a:ext cx="1135486" cy="70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4821258" y="4194954"/>
            <a:ext cx="385519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400" b="1" dirty="0">
                <a:solidFill>
                  <a:srgbClr val="C00000"/>
                </a:solidFill>
                <a:cs typeface="Arial" pitchFamily="34" charset="0"/>
              </a:rPr>
              <a:t>30</a:t>
            </a: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 ТУРИСТОВ СОЗДАЮТ</a:t>
            </a:r>
          </a:p>
          <a:p>
            <a:pPr algn="ctr">
              <a:defRPr/>
            </a:pPr>
            <a:endParaRPr lang="ru-RU" altLang="ru-RU" sz="20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24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endParaRPr lang="ru-RU" altLang="ru-RU" sz="20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cs typeface="Arial" pitchFamily="34" charset="0"/>
              </a:rPr>
              <a:t>НОВОЕ РАБОЧЕЕ МЕСТО</a:t>
            </a:r>
            <a:endParaRPr lang="en-US" altLang="ru-RU" sz="2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404241" y="4383684"/>
            <a:ext cx="704040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altLang="ru-RU" sz="8000" b="1" dirty="0" smtClean="0">
                <a:solidFill>
                  <a:srgbClr val="C00000"/>
                </a:solidFill>
                <a:cs typeface="Arial" pitchFamily="34" charset="0"/>
              </a:rPr>
              <a:t>1</a:t>
            </a:r>
            <a:endParaRPr lang="ru-RU" altLang="ru-RU" sz="80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493667" y="6453337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    2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68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0" y="169865"/>
            <a:ext cx="9144000" cy="73885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5" tIns="37137" rIns="74275" bIns="37137" numCol="1" spcCol="0" rtlCol="0" fromWordArt="0" anchor="ctr" anchorCtr="0" forceAA="0" compatLnSpc="1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 u="sng" ker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rgbClr val="002060"/>
                </a:solidFill>
                <a:latin typeface="Arial" panose="020B0604020202020204" pitchFamily="34" charset="0"/>
                <a:ea typeface="Rix고딕 L" panose="02020603020101020101" pitchFamily="18" charset="-127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u="none" kern="1200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ЗАДАЧИ ГЛАВЫ ГОСУДАРСТВА по </a:t>
            </a:r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развитию туризма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836712"/>
            <a:ext cx="2636601" cy="130736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65" y="843955"/>
            <a:ext cx="2592288" cy="126787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83865" y="2060848"/>
            <a:ext cx="2592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й визит на Алаколь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91879" y="2113111"/>
            <a:ext cx="2592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й визит на </a:t>
            </a:r>
            <a:r>
              <a:rPr lang="kk-KZ" sz="1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овое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300192" y="2127734"/>
            <a:ext cx="2636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й визит на Каспий 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60136" y="6479567"/>
            <a:ext cx="59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69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</a:t>
            </a:r>
            <a:endParaRPr lang="ru-RU" sz="1569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843955"/>
            <a:ext cx="2592288" cy="127888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420888"/>
            <a:ext cx="5400600" cy="200898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95536" y="4459587"/>
            <a:ext cx="8496944" cy="2137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46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ая сессия </a:t>
            </a:r>
            <a:r>
              <a:rPr lang="ru-RU" sz="1846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ламента 6-го </a:t>
            </a:r>
            <a:r>
              <a:rPr lang="ru-RU" sz="1846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ыва</a:t>
            </a:r>
            <a:endParaRPr lang="ru-RU" sz="1846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 1: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разработать Госпрограмму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</a:rPr>
              <a:t>развития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туризма </a:t>
            </a:r>
            <a:r>
              <a:rPr lang="ru-RU" sz="2400" dirty="0" err="1" smtClean="0">
                <a:solidFill>
                  <a:schemeClr val="accent1">
                    <a:lumMod val="50000"/>
                  </a:schemeClr>
                </a:solidFill>
              </a:rPr>
              <a:t>РК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</a:rPr>
              <a:t>до 2023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года. </a:t>
            </a:r>
          </a:p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Задача 2: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подкрепить Госпрограмму финансово. </a:t>
            </a:r>
          </a:p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Задача 3: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подкрепить Госпрограмму законодательной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</a:rPr>
              <a:t>базой. </a:t>
            </a:r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r>
              <a:rPr lang="ru-RU" sz="1846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4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11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26168" y="87015"/>
            <a:ext cx="64638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2400" b="1" dirty="0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ПОКАЗАТЕЛИ И РЕЗУЛЬТАТЫ РАБОТЫ ТУРИЗМА</a:t>
            </a:r>
            <a:endParaRPr lang="ru-RU" sz="2400" b="1" dirty="0">
              <a:ln>
                <a:solidFill>
                  <a:prstClr val="white">
                    <a:lumMod val="50000"/>
                    <a:alpha val="0"/>
                  </a:prstClr>
                </a:solidFill>
              </a:ln>
              <a:solidFill>
                <a:schemeClr val="tx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493667" y="6531442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     </a:t>
            </a:r>
            <a:r>
              <a:rPr lang="ru-RU" sz="1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4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59419" y="764704"/>
            <a:ext cx="6768752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кальный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-ЭКСПО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ффект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рост въездного туризма - 22% (4,2 млн. посетителей), рост внутреннего туризма 7% (2,5 млн. посетителей), рост объема оказанных услуг 5% (45 млрд. тенге). </a:t>
            </a:r>
          </a:p>
          <a:p>
            <a:pPr algn="just"/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 государств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безвизовый въезд в Казахстан.</a:t>
            </a:r>
          </a:p>
          <a:p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ий эффект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-часового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визового транзитного режим для граждан КНР и Индии: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рост транзитного потока из КНР через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хстан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человек, средний чек которых составил – 350 долл. США. </a:t>
            </a:r>
          </a:p>
          <a:p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щение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ческого преимущества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пике «Хан Тенгри»: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тыс. 201 дополнительный турист;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 млн. тенге экономике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рабатывается взаимное признание визовых режимов в рамках проекта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lk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</a:t>
            </a:r>
            <a:r>
              <a:rPr lang="ru-RU" sz="16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a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-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A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граждан 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8 стран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том числе в отношении основных туристических рынков Казахстана - Индии, Китая, Ирана, стран Персидского залива.</a:t>
            </a:r>
          </a:p>
        </p:txBody>
      </p:sp>
      <p:pic>
        <p:nvPicPr>
          <p:cNvPr id="2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573016"/>
            <a:ext cx="1953430" cy="720080"/>
          </a:xfrm>
          <a:prstGeom prst="rect">
            <a:avLst/>
          </a:prstGeom>
        </p:spPr>
      </p:pic>
      <p:pic>
        <p:nvPicPr>
          <p:cNvPr id="25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694067"/>
            <a:ext cx="1953431" cy="607141"/>
          </a:xfrm>
          <a:prstGeom prst="rect">
            <a:avLst/>
          </a:prstGeom>
        </p:spPr>
      </p:pic>
      <p:pic>
        <p:nvPicPr>
          <p:cNvPr id="28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060848"/>
            <a:ext cx="1807235" cy="7920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89240"/>
            <a:ext cx="1953430" cy="463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697"/>
            <a:ext cx="2132942" cy="9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184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4202" y="260648"/>
            <a:ext cx="8640960" cy="720080"/>
          </a:xfr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465" tIns="40232" rIns="80465" bIns="40232" numCol="1" spcCol="0" rtlCol="0" fromWordArt="0" anchor="ctr" anchorCtr="0" forceAA="0" compatLnSpc="1">
            <a:noAutofit/>
          </a:bodyPr>
          <a:lstStyle/>
          <a:p>
            <a:r>
              <a:rPr lang="kk-KZ" sz="2400" dirty="0" err="1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ТУРИЗМ</a:t>
            </a:r>
            <a:r>
              <a:rPr lang="kk-KZ" sz="2400" dirty="0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И </a:t>
            </a:r>
            <a:r>
              <a:rPr lang="kk-KZ" sz="2400" dirty="0" err="1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МНОГОСТОРОННЯЯ</a:t>
            </a:r>
            <a:r>
              <a:rPr lang="kk-KZ" sz="2400" dirty="0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kk-KZ" sz="2400" dirty="0" err="1" smtClea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ДИПЛОМАТИЯ</a:t>
            </a:r>
            <a:endParaRPr lang="ru-RU" sz="2400" dirty="0">
              <a:ln>
                <a:solidFill>
                  <a:prstClr val="white">
                    <a:lumMod val="50000"/>
                    <a:alpha val="0"/>
                  </a:prstClr>
                </a:solidFill>
              </a:ln>
              <a:solidFill>
                <a:schemeClr val="tx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643" y="3356992"/>
            <a:ext cx="2830874" cy="18002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04" y="1332850"/>
            <a:ext cx="2770638" cy="18406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9917" y="1355024"/>
            <a:ext cx="2826094" cy="18256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5466275"/>
            <a:ext cx="4248472" cy="113107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23528" y="3284984"/>
            <a:ext cx="25549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мит </a:t>
            </a:r>
            <a:r>
              <a:rPr lang="kk-KZ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 </a:t>
            </a:r>
            <a:r>
              <a:rPr lang="kk-KZ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спийских государств </a:t>
            </a:r>
          </a:p>
          <a:p>
            <a:pPr algn="ctr"/>
            <a:r>
              <a:rPr lang="kk-KZ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г., г. Актау</a:t>
            </a:r>
            <a:endParaRPr lang="ru-RU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84168" y="3429000"/>
            <a:ext cx="265875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мит </a:t>
            </a:r>
            <a:r>
              <a:rPr lang="kk-KZ" sz="19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 государств </a:t>
            </a:r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С </a:t>
            </a:r>
          </a:p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г.</a:t>
            </a:r>
            <a:r>
              <a:rPr lang="ru-RU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НР,</a:t>
            </a:r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Циндао</a:t>
            </a:r>
            <a:endParaRPr lang="ru-RU" sz="19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9832" y="1514688"/>
            <a:ext cx="2965907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мит Глав государств Тюркского совета </a:t>
            </a:r>
          </a:p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г., Кыргызстан, </a:t>
            </a:r>
          </a:p>
          <a:p>
            <a:pPr algn="ctr"/>
            <a:r>
              <a:rPr lang="kk-KZ" sz="1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олпон-Ата</a:t>
            </a:r>
            <a:endParaRPr lang="ru-RU" sz="19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560136" y="6546831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     </a:t>
            </a:r>
            <a:r>
              <a:rPr lang="ru-RU" sz="1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5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86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07505" y="476672"/>
            <a:ext cx="2448272" cy="1458984"/>
          </a:xfrm>
          <a:prstGeom prst="rect">
            <a:avLst/>
          </a:prstGeom>
          <a:solidFill>
            <a:schemeClr val="bg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chemeClr val="tx2">
                    <a:lumMod val="50000"/>
                  </a:schemeClr>
                </a:solidFill>
              </a:rPr>
              <a:t>ППРК №13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545780" y="6470273"/>
            <a:ext cx="598220" cy="3539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6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55776" y="404664"/>
            <a:ext cx="648072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свобождение</a:t>
            </a:r>
            <a:r>
              <a:rPr lang="ru-RU" sz="1400" dirty="0" smtClean="0">
                <a:solidFill>
                  <a:schemeClr val="accent1">
                    <a:lumMod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нвесторов 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троительство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горнолыжных баз, санаториев и курортов, парков развлечения, гостиниц и придорожного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ервиса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т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аможенных пошлин, налога на землю, имущество и на восемь лет от корпоративного подоходного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алога, обеспечение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атурными грантами (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землей).</a:t>
            </a:r>
          </a:p>
          <a:p>
            <a:endParaRPr lang="ru-RU" sz="1400" dirty="0" smtClean="0">
              <a:solidFill>
                <a:schemeClr val="accent1">
                  <a:lumMod val="1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М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нимальном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бъеме инвестиций в районе 4,9 млрд. тенге (в районе 2 млн. минимального расчетного показателя - </a:t>
            </a:r>
            <a:r>
              <a:rPr lang="ru-RU" sz="140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МРП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). </a:t>
            </a:r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1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2780929"/>
            <a:ext cx="2526755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922291" y="2565028"/>
            <a:ext cx="35750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defTabSz="914400">
              <a:defRPr/>
            </a:pP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Лыжный курорт «</a:t>
            </a:r>
            <a:r>
              <a:rPr lang="ru-RU" sz="140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урабай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»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5827961" y="2564904"/>
            <a:ext cx="35750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defTabSz="914400">
              <a:defRPr/>
            </a:pP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онгресс центр «</a:t>
            </a:r>
            <a:r>
              <a:rPr lang="ru-RU" sz="140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урабай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»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611" y="2780928"/>
            <a:ext cx="2520280" cy="165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8"/>
          <p:cNvSpPr/>
          <p:nvPr/>
        </p:nvSpPr>
        <p:spPr>
          <a:xfrm>
            <a:off x="121024" y="2762104"/>
            <a:ext cx="2434752" cy="1458984"/>
          </a:xfrm>
          <a:prstGeom prst="rect">
            <a:avLst/>
          </a:prstGeom>
          <a:solidFill>
            <a:schemeClr val="bg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</a:rPr>
              <a:t>Щучинско-Боровская курортная зона</a:t>
            </a:r>
            <a:endParaRPr lang="ru-RU" sz="1500" b="1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8" name="Picture 2" descr="Картинки по запросу КОнгресс холл Бурабай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3" y="4509120"/>
            <a:ext cx="3384699" cy="1368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 descr="Картинки по запросу hollywood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5533651"/>
            <a:ext cx="3996756" cy="1063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2"/>
          <p:cNvSpPr txBox="1">
            <a:spLocks/>
          </p:cNvSpPr>
          <p:nvPr/>
        </p:nvSpPr>
        <p:spPr bwMode="auto">
          <a:xfrm>
            <a:off x="5148064" y="4870901"/>
            <a:ext cx="251743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rgbClr val="0B2755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ОРОВОЕ:</a:t>
            </a:r>
            <a:br>
              <a:rPr lang="ru-RU" sz="14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r>
              <a:rPr lang="ru-RU" sz="14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лощадка для развития киноиндустрии Казахстана</a:t>
            </a:r>
          </a:p>
        </p:txBody>
      </p:sp>
    </p:spTree>
    <p:extLst>
      <p:ext uri="{BB962C8B-B14F-4D97-AF65-F5344CB8AC3E}">
        <p14:creationId xmlns:p14="http://schemas.microsoft.com/office/powerpoint/2010/main" val="406732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8" descr="ÐÐ°ÑÑÐ¸Ð½ÐºÐ¸ Ð¿Ð¾ Ð·Ð°Ð¿ÑÐ¾ÑÑ ÐÐÐÐÐÐÐÐ Ð¸ ÐÐÐÐÐÐÐ"/>
          <p:cNvSpPr>
            <a:spLocks noChangeAspect="1" noChangeArrowheads="1"/>
          </p:cNvSpPr>
          <p:nvPr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91325" y="999594"/>
            <a:ext cx="8881810" cy="5155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омпанией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веден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анализ,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пределены особенности национального туристского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дукта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эко-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этнотуризм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событийный туризм и туризм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азвлечений)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ыявлены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целевые рынки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итай, Россия, Иран,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ША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Индия, страны Ближнего Востока и Западной Европы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азработан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ект </a:t>
            </a:r>
            <a:r>
              <a:rPr lang="ru-RU" sz="160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транового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туристского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бренда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водится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абота по популяризации внутреннего туризма – экспедиции,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фестивали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двигаем Казахстан на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рубежных рынках – организовано участие в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международных выставках, где общий PR охват составил </a:t>
            </a:r>
            <a:r>
              <a:rPr lang="ru-RU" sz="16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90 млн</a:t>
            </a: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формирована база из </a:t>
            </a: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00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инвестиционных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ектов. В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ноябре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018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года будет проведен 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туристский инвестиционный форум;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едется </a:t>
            </a:r>
            <a:r>
              <a:rPr lang="ru-RU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модернизация национального туристского портала </a:t>
            </a:r>
            <a:r>
              <a:rPr lang="en-US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Kazakhstan</a:t>
            </a:r>
            <a:r>
              <a:rPr lang="ru-RU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2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ravel</a:t>
            </a:r>
            <a:r>
              <a:rPr lang="ru-RU" sz="2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5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600" b="1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Мировой </a:t>
            </a:r>
            <a:r>
              <a:rPr lang="ru-RU" sz="16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хват по итогам проведенной Компанией работы по продвижению составил более </a:t>
            </a:r>
            <a:r>
              <a:rPr lang="ru-RU" sz="1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50 млн. </a:t>
            </a:r>
            <a:r>
              <a:rPr lang="ru-RU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человек</a:t>
            </a:r>
            <a:endParaRPr lang="ru-RU" sz="16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-3153" y="98001"/>
            <a:ext cx="9147153" cy="594695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465" tIns="40232" rIns="80465" bIns="40232" numCol="1" spcCol="0" rtlCol="0" fromWordArt="0" anchor="ctr" anchorCtr="0" forceAA="0" compatLnSpc="1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 u="sng" kern="0">
                <a:ln>
                  <a:solidFill>
                    <a:prstClr val="white">
                      <a:lumMod val="50000"/>
                      <a:alpha val="0"/>
                    </a:prstClr>
                  </a:solidFill>
                </a:ln>
                <a:solidFill>
                  <a:srgbClr val="002060"/>
                </a:solidFill>
                <a:latin typeface="Arial" panose="020B0604020202020204" pitchFamily="34" charset="0"/>
                <a:ea typeface="Rix고딕 L" panose="02020603020101020101" pitchFamily="18" charset="-127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НАЦИОНАЛЬНАЯ КОМПАНИЯ «</a:t>
            </a:r>
            <a:r>
              <a:rPr lang="en-US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KAZAKH TOURISM</a:t>
            </a:r>
            <a:r>
              <a:rPr lang="ru-RU" sz="2400" b="1" u="none" kern="120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654300" y="6453336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7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97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4078" y="492129"/>
            <a:ext cx="8062332" cy="576845"/>
          </a:xfrm>
        </p:spPr>
        <p:txBody>
          <a:bodyPr>
            <a:noAutofit/>
          </a:bodyPr>
          <a:lstStyle/>
          <a:p>
            <a:r>
              <a:rPr lang="ru-RU" sz="2800" b="1" u="sng" dirty="0" smtClean="0">
                <a:solidFill>
                  <a:schemeClr val="tx2">
                    <a:lumMod val="50000"/>
                  </a:schemeClr>
                </a:solidFill>
              </a:rPr>
              <a:t>6 ПРИОРИТЕТОВ 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ru-RU" sz="2800" b="1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</a:rPr>
              <a:t>Государственной программы развития туризма Республики Казахстан до 2023 года</a:t>
            </a:r>
            <a:endParaRPr lang="ru-RU" sz="2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Rectangle 166"/>
          <p:cNvSpPr/>
          <p:nvPr>
            <p:custDataLst>
              <p:tags r:id="rId1"/>
            </p:custDataLst>
          </p:nvPr>
        </p:nvSpPr>
        <p:spPr>
          <a:xfrm>
            <a:off x="999198" y="3068960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Развитие туристической инфраструктуры</a:t>
            </a:r>
          </a:p>
        </p:txBody>
      </p:sp>
      <p:grpSp>
        <p:nvGrpSpPr>
          <p:cNvPr id="4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940649" y="1413499"/>
            <a:ext cx="7182941" cy="219786"/>
            <a:chOff x="915" y="947"/>
            <a:chExt cx="1617" cy="147"/>
          </a:xfrm>
        </p:grpSpPr>
        <p:cxnSp>
          <p:nvCxnSpPr>
            <p:cNvPr id="5" name="AutoShape 249"/>
            <p:cNvCxnSpPr>
              <a:cxnSpLocks noChangeShapeType="1"/>
              <a:stCxn id="6" idx="4"/>
              <a:endCxn id="6" idx="6"/>
            </p:cNvCxnSpPr>
            <p:nvPr/>
          </p:nvCxnSpPr>
          <p:spPr bwMode="auto">
            <a:xfrm>
              <a:off x="915" y="1094"/>
              <a:ext cx="16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" name="AutoShape 250"/>
            <p:cNvSpPr>
              <a:spLocks noChangeArrowheads="1"/>
            </p:cNvSpPr>
            <p:nvPr/>
          </p:nvSpPr>
          <p:spPr bwMode="auto">
            <a:xfrm>
              <a:off x="915" y="947"/>
              <a:ext cx="1617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7224" anchor="b">
              <a:spAutoFit/>
            </a:bodyPr>
            <a:lstStyle/>
            <a:p>
              <a:pPr defTabSz="861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318" b="1" dirty="0" smtClean="0">
                  <a:solidFill>
                    <a:srgbClr val="000000"/>
                  </a:solidFill>
                  <a:latin typeface="Arial" charset="0"/>
                </a:rPr>
                <a:t>Цели:</a:t>
              </a:r>
              <a:endParaRPr lang="ru-RU" sz="1318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sp>
        <p:nvSpPr>
          <p:cNvPr id="7" name="Oval 5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9315" y="3195085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1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8" name="Rectangle 166"/>
          <p:cNvSpPr/>
          <p:nvPr>
            <p:custDataLst>
              <p:tags r:id="rId4"/>
            </p:custDataLst>
          </p:nvPr>
        </p:nvSpPr>
        <p:spPr>
          <a:xfrm>
            <a:off x="999198" y="3665003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Либерализация визовой и миграционной политики </a:t>
            </a:r>
          </a:p>
        </p:txBody>
      </p:sp>
      <p:sp>
        <p:nvSpPr>
          <p:cNvPr id="9" name="Oval 5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24631" y="3805358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2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" name="Rectangle 166"/>
          <p:cNvSpPr/>
          <p:nvPr>
            <p:custDataLst>
              <p:tags r:id="rId6"/>
            </p:custDataLst>
          </p:nvPr>
        </p:nvSpPr>
        <p:spPr>
          <a:xfrm>
            <a:off x="999198" y="4275276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Повышение транспортной доступности туристических объектов и </a:t>
            </a:r>
            <a:r>
              <a:rPr lang="ru-RU" sz="1318" dirty="0" err="1">
                <a:solidFill>
                  <a:srgbClr val="FFFFFF"/>
                </a:solidFill>
                <a:latin typeface="Arial" charset="0"/>
              </a:rPr>
              <a:t>дестинаций</a:t>
            </a:r>
            <a:endParaRPr lang="ru-RU" sz="1318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1" name="Oval 5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24631" y="4415631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3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Rectangle 166"/>
          <p:cNvSpPr/>
          <p:nvPr>
            <p:custDataLst>
              <p:tags r:id="rId8"/>
            </p:custDataLst>
          </p:nvPr>
        </p:nvSpPr>
        <p:spPr>
          <a:xfrm>
            <a:off x="999198" y="4885549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Повышение эффективности маркетинга и продвижения туристических услуг</a:t>
            </a:r>
          </a:p>
        </p:txBody>
      </p:sp>
      <p:sp>
        <p:nvSpPr>
          <p:cNvPr id="13" name="Oval 5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24631" y="5025904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4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4" name="Rectangle 166"/>
          <p:cNvSpPr/>
          <p:nvPr>
            <p:custDataLst>
              <p:tags r:id="rId10"/>
            </p:custDataLst>
          </p:nvPr>
        </p:nvSpPr>
        <p:spPr>
          <a:xfrm>
            <a:off x="989458" y="5502937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Повышение эффективности государственной поддержки</a:t>
            </a:r>
          </a:p>
        </p:txBody>
      </p:sp>
      <p:sp>
        <p:nvSpPr>
          <p:cNvPr id="15" name="Oval 5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069575" y="5643292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5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6" name="Rectangle 166"/>
          <p:cNvSpPr/>
          <p:nvPr>
            <p:custDataLst>
              <p:tags r:id="rId12"/>
            </p:custDataLst>
          </p:nvPr>
        </p:nvSpPr>
        <p:spPr>
          <a:xfrm>
            <a:off x="989458" y="6113208"/>
            <a:ext cx="7182942" cy="484144"/>
          </a:xfrm>
          <a:prstGeom prst="rect">
            <a:avLst/>
          </a:prstGeom>
          <a:solidFill>
            <a:srgbClr val="0B2755"/>
          </a:solidFill>
        </p:spPr>
        <p:txBody>
          <a:bodyPr wrap="square" anchor="ctr">
            <a:noAutofit/>
          </a:bodyPr>
          <a:lstStyle/>
          <a:p>
            <a:pPr marL="246703" defTabSz="861217" fontAlgn="base">
              <a:spcBef>
                <a:spcPct val="0"/>
              </a:spcBef>
              <a:spcAft>
                <a:spcPct val="0"/>
              </a:spcAft>
            </a:pPr>
            <a:r>
              <a:rPr lang="ru-RU" sz="1318" dirty="0">
                <a:solidFill>
                  <a:srgbClr val="FFFFFF"/>
                </a:solidFill>
                <a:latin typeface="Arial" charset="0"/>
              </a:rPr>
              <a:t>Совершенствование стандартов сервиса, кадрового обеспечения, культуры и туристической информационной среды</a:t>
            </a:r>
          </a:p>
        </p:txBody>
      </p:sp>
      <p:sp>
        <p:nvSpPr>
          <p:cNvPr id="17" name="Oval 5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69575" y="6253563"/>
            <a:ext cx="203434" cy="203434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7580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61" b="1" dirty="0">
                <a:solidFill>
                  <a:srgbClr val="FFFFFF"/>
                </a:solidFill>
                <a:latin typeface="Arial" charset="0"/>
              </a:rPr>
              <a:t>6</a:t>
            </a:r>
            <a:endParaRPr lang="en-US" sz="2261" b="1" dirty="0">
              <a:solidFill>
                <a:srgbClr val="FFFFFF"/>
              </a:solidFill>
              <a:latin typeface="Arial" charset="0"/>
            </a:endParaRPr>
          </a:p>
        </p:txBody>
      </p:sp>
      <p:grpSp>
        <p:nvGrpSpPr>
          <p:cNvPr id="18" name="Group 5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917451" y="2705158"/>
            <a:ext cx="7182941" cy="219786"/>
            <a:chOff x="915" y="1091"/>
            <a:chExt cx="1617" cy="147"/>
          </a:xfrm>
        </p:grpSpPr>
        <p:cxnSp>
          <p:nvCxnSpPr>
            <p:cNvPr id="19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238"/>
              <a:ext cx="16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1091"/>
              <a:ext cx="1617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7224" anchor="b">
              <a:spAutoFit/>
            </a:bodyPr>
            <a:lstStyle/>
            <a:p>
              <a:pPr defTabSz="861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318" b="1" dirty="0">
                  <a:solidFill>
                    <a:srgbClr val="000000"/>
                  </a:solidFill>
                  <a:latin typeface="Arial" charset="0"/>
                </a:rPr>
                <a:t>Приоритетные направления Госпрограммы</a:t>
              </a:r>
              <a:endParaRPr lang="ru-RU" sz="1318" dirty="0">
                <a:solidFill>
                  <a:srgbClr val="FFFFFF">
                    <a:lumMod val="50000"/>
                  </a:srgbClr>
                </a:solidFill>
                <a:latin typeface="Arial" charset="0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288032" y="1700808"/>
            <a:ext cx="8532440" cy="903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2183" lvl="1" indent="-285750">
              <a:buFont typeface="Wingdings" panose="05000000000000000000" pitchFamily="2" charset="2"/>
              <a:buChar char="§"/>
            </a:pPr>
            <a:r>
              <a:rPr lang="ru-RU" sz="1318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Рост туризма в структуре ВВП </a:t>
            </a:r>
            <a:r>
              <a:rPr lang="ru-RU" sz="1318" b="1" dirty="0">
                <a:solidFill>
                  <a:srgbClr val="FF0000"/>
                </a:solidFill>
                <a:latin typeface="Arial" charset="0"/>
              </a:rPr>
              <a:t>с 1 до 8 % к 2023 году </a:t>
            </a:r>
            <a:r>
              <a:rPr lang="ru-RU" sz="1318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через трансформацию в один из драйверов диверсификации национальной экономики.</a:t>
            </a:r>
          </a:p>
          <a:p>
            <a:pPr marL="822183" lvl="1" indent="-285750">
              <a:buFont typeface="Wingdings" panose="05000000000000000000" pitchFamily="2" charset="2"/>
              <a:buChar char="§"/>
            </a:pPr>
            <a:r>
              <a:rPr lang="ru-RU" sz="1318" dirty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Место в рейтинге конкурентоспособности путешествий и туризма Всемирного экономического форума с </a:t>
            </a:r>
            <a:r>
              <a:rPr lang="ru-RU" sz="1318" b="1" dirty="0">
                <a:solidFill>
                  <a:srgbClr val="FF0000"/>
                </a:solidFill>
                <a:latin typeface="Arial" charset="0"/>
              </a:rPr>
              <a:t>81 в 2017 году на 50 </a:t>
            </a:r>
            <a:r>
              <a:rPr lang="ru-RU" sz="1318" b="1" dirty="0" smtClean="0">
                <a:solidFill>
                  <a:srgbClr val="FF0000"/>
                </a:solidFill>
                <a:latin typeface="Arial" charset="0"/>
              </a:rPr>
              <a:t>место в </a:t>
            </a:r>
            <a:r>
              <a:rPr lang="ru-RU" sz="1318" b="1" dirty="0">
                <a:solidFill>
                  <a:srgbClr val="FF0000"/>
                </a:solidFill>
                <a:latin typeface="Arial" charset="0"/>
              </a:rPr>
              <a:t>2023 </a:t>
            </a:r>
            <a:r>
              <a:rPr lang="ru-RU" sz="1318" b="1" dirty="0" smtClean="0">
                <a:solidFill>
                  <a:srgbClr val="FF0000"/>
                </a:solidFill>
                <a:latin typeface="Arial" charset="0"/>
              </a:rPr>
              <a:t>году.</a:t>
            </a:r>
            <a:endParaRPr lang="ru-RU" sz="1318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604448" y="6531441"/>
            <a:ext cx="5982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8</a:t>
            </a:r>
            <a:endParaRPr lang="ru-RU" sz="17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836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Loaner\Desktop\Dana Kurmasheva\материалы\доклад Министра\ПРЕЗЕНТАЦИЯ НА ПРАВЧАС 240912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1xDTGnUSNtRqVjC6B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xhlwBR00mnEPHqhrie6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JxCr2yBUW2_IepoX_t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t2rf5Lg0iQZhdd7i_y3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cRFhHN40S8tkZMkvBcM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mtxBw1x06mDwJ.pspR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RV2IkN4UmCte6oZ50M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Yab2Qwl0e57M0Brzwp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KRn0AZkCNLzQGxTCB5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Ot_4r_PUO4nNrc2STPz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0PxUxjWkW9wW4O5mlDx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LXZVRlrUmPDnGc8u5Q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f8x5Tj4kGh4QOZIUnvm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uyukzbDE.Ie3zqv_6tc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3EYyKIIkqx0KUJu3eO9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3EYyKIIkqx0KUJu3eO9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0Rt3XFEqJnB5ZDBuAE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kshCZztEy6pBA27QNMm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iPDYWkkeUpZWTa7VH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5u6FwwEuazye7ZTUt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aKqdBLiUq_AYcCJkgB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_3.N9RBUqexQpvrFnS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sO2wt1kelWvNu6gcs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gSfAB4.0aMuxOk8Cd9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YwH8Vg_EqJzXkDx7ei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8TT4U40ObsuSZdOOc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1xDTGnUSNtRqVjC6B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KRn0AZkCNLzQGxTCB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f8x5Tj4kGh4QOZIUnv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5u6FwwEuazye7ZTUt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3NMhOxwUi7hIfPHZCB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0Rt3XFEqJnB5ZDBuA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kshCZztEy6pBA27QNM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iPDYWkkeUpZWTa7VH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5u6FwwEuazye7ZTUt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aKqdBLiUq_AYcCJkgB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_3.N9RBUqexQpvrFnS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bETAsMEK.JP0RtxGd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sO2wt1kelWvNu6gcs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aKqdBLiUq_AYcCJkgB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gSfAB4.0aMuxOk8Cd9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YwH8Vg_EqJzXkDx7eif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8TT4U40ObsuSZdOOc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1xDTGnUSNtRqVjC6B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KRn0AZkCNLzQGxTCB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f8x5Tj4kGh4QOZIUnv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3NMhOxwUi7hIfPHZCB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0Rt3XFEqJnB5ZDBuA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kshCZztEy6pBA27QNM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_3.N9RBUqexQpvrFnS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iPDYWkkeUpZWTa7VH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xFmmVw0f0CT7ZzNEKRw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5u6FwwEuazye7ZTUt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aKqdBLiUq_AYcCJkgB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_3.N9RBUqexQpvrFnS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bETAsMEK.JP0RtxGd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sO2wt1kelWvNu6gcs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2M0aNaEiBuFReN5en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sO2wt1kelWvNu6gcsb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AXHQXFEiApbicf0SB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_Y.nYb0S5zqTVXyuB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2M0aNaEiBuFReN5en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mt.Hh.vkubAq98K0ttl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ORdNbiwUq5eLq7BVJD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wadl2Au0qX_F.ar58H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z4bRCDT0.os3wRZYl5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ZARqOIUkiOM5VcE9DC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wVTijM.EWR6NIPClfW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YwH8Vg_EqJzXkDx7eif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.ZrANGmESK8p9LW8Mz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S8pTiCkOji2N77rb9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3MHoDF0UGUihw3D0eE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f8x5Tj4kGh4QOZIUnv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f8x5Tj4kGh4QOZIUnv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ZLEZrqC0iTGxaJ_GAR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dMU.Zm5kuYi5gQbHzO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ZI_ioBYkG.Ed2NzpcL4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9j27cw_U.iZsSvsSSx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8TT4U40ObsuSZdOOcT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Pvz5p60EKsEy8aXuDW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rKosWXykKc1bOx8hlK2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0lFCnvwUm0ebVgQ3FF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cMLbXBhEWjkFy04BDyp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LgeoeLIU2gQQ_J2DMY.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_pFtJ90UWqu06WU1nB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bogXmrh0.hX9a41nxf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6TdtAfESJb2gsjK307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AKYSMKTEOKSotSwhR22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yout">
  <a:themeElements>
    <a:clrScheme name="KazMynaiGaz1">
      <a:dk1>
        <a:srgbClr val="000000"/>
      </a:dk1>
      <a:lt1>
        <a:srgbClr val="FFFFFF"/>
      </a:lt1>
      <a:dk2>
        <a:srgbClr val="005481"/>
      </a:dk2>
      <a:lt2>
        <a:srgbClr val="FFFFFF"/>
      </a:lt2>
      <a:accent1>
        <a:srgbClr val="C5EAFB"/>
      </a:accent1>
      <a:accent2>
        <a:srgbClr val="02AEF0"/>
      </a:accent2>
      <a:accent3>
        <a:srgbClr val="00639A"/>
      </a:accent3>
      <a:accent4>
        <a:srgbClr val="0B2755"/>
      </a:accent4>
      <a:accent5>
        <a:srgbClr val="FF6600"/>
      </a:accent5>
      <a:accent6>
        <a:srgbClr val="808080"/>
      </a:accent6>
      <a:hlink>
        <a:srgbClr val="120F3D"/>
      </a:hlink>
      <a:folHlink>
        <a:srgbClr val="00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956C756-280F-480D-8198-DA106157E1C6}" vid="{F06640CF-8967-46D8-B78E-D9FE3F4D28E7}"/>
    </a:ext>
  </a:extLst>
</a:theme>
</file>

<file path=ppt/theme/theme3.xml><?xml version="1.0" encoding="utf-8"?>
<a:theme xmlns:a="http://schemas.openxmlformats.org/drawingml/2006/main" name="1_Firm Format - Russian">
  <a:themeElements>
    <a:clrScheme name="KazMynaiGaz1">
      <a:dk1>
        <a:srgbClr val="000000"/>
      </a:dk1>
      <a:lt1>
        <a:srgbClr val="FFFFFF"/>
      </a:lt1>
      <a:dk2>
        <a:srgbClr val="005481"/>
      </a:dk2>
      <a:lt2>
        <a:srgbClr val="FFFFFF"/>
      </a:lt2>
      <a:accent1>
        <a:srgbClr val="C5EAFB"/>
      </a:accent1>
      <a:accent2>
        <a:srgbClr val="02AEF0"/>
      </a:accent2>
      <a:accent3>
        <a:srgbClr val="00639A"/>
      </a:accent3>
      <a:accent4>
        <a:srgbClr val="0B2755"/>
      </a:accent4>
      <a:accent5>
        <a:srgbClr val="FF6600"/>
      </a:accent5>
      <a:accent6>
        <a:srgbClr val="808080"/>
      </a:accent6>
      <a:hlink>
        <a:srgbClr val="120F3D"/>
      </a:hlink>
      <a:folHlink>
        <a:srgbClr val="00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956C756-280F-480D-8198-DA106157E1C6}" vid="{F06640CF-8967-46D8-B78E-D9FE3F4D28E7}"/>
    </a:ext>
  </a:extLst>
</a:theme>
</file>

<file path=ppt/theme/theme4.xml><?xml version="1.0" encoding="utf-8"?>
<a:theme xmlns:a="http://schemas.openxmlformats.org/drawingml/2006/main" name="Firm Format - Russian">
  <a:themeElements>
    <a:clrScheme name="KazMynaiGaz1">
      <a:dk1>
        <a:srgbClr val="000000"/>
      </a:dk1>
      <a:lt1>
        <a:srgbClr val="FFFFFF"/>
      </a:lt1>
      <a:dk2>
        <a:srgbClr val="005481"/>
      </a:dk2>
      <a:lt2>
        <a:srgbClr val="FFFFFF"/>
      </a:lt2>
      <a:accent1>
        <a:srgbClr val="C5EAFB"/>
      </a:accent1>
      <a:accent2>
        <a:srgbClr val="02AEF0"/>
      </a:accent2>
      <a:accent3>
        <a:srgbClr val="00639A"/>
      </a:accent3>
      <a:accent4>
        <a:srgbClr val="0B2755"/>
      </a:accent4>
      <a:accent5>
        <a:srgbClr val="FF6600"/>
      </a:accent5>
      <a:accent6>
        <a:srgbClr val="808080"/>
      </a:accent6>
      <a:hlink>
        <a:srgbClr val="120F3D"/>
      </a:hlink>
      <a:folHlink>
        <a:srgbClr val="00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2" id="{3956C756-280F-480D-8198-DA106157E1C6}" vid="{F06640CF-8967-46D8-B78E-D9FE3F4D28E7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28</TotalTime>
  <Words>1614</Words>
  <Application>Microsoft Office PowerPoint</Application>
  <PresentationFormat>Экран (4:3)</PresentationFormat>
  <Paragraphs>330</Paragraphs>
  <Slides>2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5" baseType="lpstr">
      <vt:lpstr>Тема Office</vt:lpstr>
      <vt:lpstr>Layout</vt:lpstr>
      <vt:lpstr>1_Firm Format - Russian</vt:lpstr>
      <vt:lpstr>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УРИЗМ И МНОГОСТОРОННЯЯ ДИПЛОМАТИЯ</vt:lpstr>
      <vt:lpstr>Презентация PowerPoint</vt:lpstr>
      <vt:lpstr>Презентация PowerPoint</vt:lpstr>
      <vt:lpstr>6 ПРИОРИТЕТОВ  Государственной программы развития туризма Республики Казахстан до 2023 года</vt:lpstr>
      <vt:lpstr>Первый приоритет:  «Развитие туристской инфраструктуры»</vt:lpstr>
      <vt:lpstr>Второй приоритет: «Либерализация визового режима»</vt:lpstr>
      <vt:lpstr>Третий приоритет:  «Повышение транспортной доступности»</vt:lpstr>
      <vt:lpstr>Презентация PowerPoint</vt:lpstr>
      <vt:lpstr>Презентация PowerPoint</vt:lpstr>
      <vt:lpstr>Презентация PowerPoint</vt:lpstr>
      <vt:lpstr>Презентация PowerPoint</vt:lpstr>
      <vt:lpstr>Пятый приоритет: «Повышение эффективности господдержки»</vt:lpstr>
      <vt:lpstr>Шестой приоритет: «Совершенствование стандартов сервиса, кадрового обеспечения, культуры и туристической информационной среды»</vt:lpstr>
      <vt:lpstr>Ключевые показатели Государственной программы развития туризма Республики Казахстан до 2023 </vt:lpstr>
      <vt:lpstr>Сопровождение Госпрограммы  финансовой и законодательной базой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Акшалов Бауржан</cp:lastModifiedBy>
  <cp:revision>918</cp:revision>
  <cp:lastPrinted>2018-09-19T03:27:32Z</cp:lastPrinted>
  <dcterms:created xsi:type="dcterms:W3CDTF">2017-10-21T05:08:25Z</dcterms:created>
  <dcterms:modified xsi:type="dcterms:W3CDTF">2018-09-21T08:25:13Z</dcterms:modified>
</cp:coreProperties>
</file>